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media/image6.jpg" ContentType="image/jpeg"/>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sldIdLst>
    <p:sldId id="256" r:id="rId3"/>
    <p:sldId id="358" r:id="rId4"/>
    <p:sldId id="334" r:id="rId5"/>
    <p:sldId id="335" r:id="rId6"/>
    <p:sldId id="336" r:id="rId7"/>
    <p:sldId id="337" r:id="rId8"/>
    <p:sldId id="338" r:id="rId9"/>
    <p:sldId id="360"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3" d="100"/>
          <a:sy n="63"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9.xml"/><Relationship Id="rId7" Type="http://schemas.openxmlformats.org/officeDocument/2006/relationships/image" Target="../media/image6.jp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2.xml"/><Relationship Id="rId9"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6.jp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04FF4-E5B8-4603-B562-4E08E7A996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27B12FDA-5C52-4BA9-BE20-5DE72BCCCB7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44E9A7D1-429D-406C-87C3-9C9A005A8999}"/>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5" name="Footer Placeholder 4">
            <a:extLst>
              <a:ext uri="{FF2B5EF4-FFF2-40B4-BE49-F238E27FC236}">
                <a16:creationId xmlns:a16="http://schemas.microsoft.com/office/drawing/2014/main" id="{A94B890C-EDD3-46D6-A427-C44D4585F0C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57ED689-A9CC-4070-B21B-3DD6AE07A294}"/>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1640943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817FA-4D9A-4E45-B940-0526CB884C4F}"/>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FB7BF774-8427-4EB8-BA6C-D31E465E2BC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196FD94-B413-4C07-A54F-62A1AF7A2BAC}"/>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5" name="Footer Placeholder 4">
            <a:extLst>
              <a:ext uri="{FF2B5EF4-FFF2-40B4-BE49-F238E27FC236}">
                <a16:creationId xmlns:a16="http://schemas.microsoft.com/office/drawing/2014/main" id="{33A13254-EAA3-4341-9605-591353057DD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A567391-F070-4EAF-8DE4-032CAF9406BB}"/>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349936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CC06CC-7711-4525-95D9-42FCA0A4C17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AD817E4-ABC5-4B29-AC5B-BC1AB860008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3C375EE-0CFE-4BD7-B3C0-BB38412A6343}"/>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5" name="Footer Placeholder 4">
            <a:extLst>
              <a:ext uri="{FF2B5EF4-FFF2-40B4-BE49-F238E27FC236}">
                <a16:creationId xmlns:a16="http://schemas.microsoft.com/office/drawing/2014/main" id="{F0C2EC50-AD24-4D00-98C7-E54DCAA1354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4FBA834-E2E1-45D2-A3EF-6DB358E72C17}"/>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35648109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bg>
      <p:bgPr>
        <a:solidFill>
          <a:srgbClr val="E70419"/>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0" y="3602037"/>
            <a:ext cx="9144000" cy="563563"/>
          </a:xfrm>
          <a:prstGeom prst="rect">
            <a:avLst/>
          </a:prstGeom>
        </p:spPr>
        <p:txBody>
          <a:bodyPr/>
          <a:lstStyle>
            <a:lvl1pPr marL="0" indent="0" algn="ctr">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0" name="Title 9"/>
          <p:cNvSpPr>
            <a:spLocks noGrp="1"/>
          </p:cNvSpPr>
          <p:nvPr>
            <p:ph type="title"/>
          </p:nvPr>
        </p:nvSpPr>
        <p:spPr>
          <a:xfrm>
            <a:off x="1099458" y="2511149"/>
            <a:ext cx="9993087" cy="957227"/>
          </a:xfrm>
        </p:spPr>
        <p:txBody>
          <a:bodyPr/>
          <a:lstStyle>
            <a:lvl1pPr algn="ctr">
              <a:defRPr>
                <a:solidFill>
                  <a:schemeClr val="bg1"/>
                </a:solidFill>
              </a:defRPr>
            </a:lvl1pPr>
          </a:lstStyle>
          <a:p>
            <a:r>
              <a:rPr lang="en-US"/>
              <a:t>Click to edit Master title style</a:t>
            </a:r>
          </a:p>
        </p:txBody>
      </p:sp>
      <p:sp>
        <p:nvSpPr>
          <p:cNvPr id="15" name="Rectangle 14"/>
          <p:cNvSpPr/>
          <p:nvPr/>
        </p:nvSpPr>
        <p:spPr>
          <a:xfrm>
            <a:off x="10493829" y="5965372"/>
            <a:ext cx="1698171" cy="892629"/>
          </a:xfrm>
          <a:prstGeom prst="rect">
            <a:avLst/>
          </a:prstGeom>
          <a:solidFill>
            <a:srgbClr val="E704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6" name="Rectangle 15"/>
          <p:cNvSpPr/>
          <p:nvPr/>
        </p:nvSpPr>
        <p:spPr>
          <a:xfrm>
            <a:off x="2" y="14152"/>
            <a:ext cx="12191999" cy="892629"/>
          </a:xfrm>
          <a:prstGeom prst="rect">
            <a:avLst/>
          </a:prstGeom>
          <a:solidFill>
            <a:srgbClr val="E704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nvGrpSpPr>
          <p:cNvPr id="2" name="Group 1"/>
          <p:cNvGrpSpPr/>
          <p:nvPr/>
        </p:nvGrpSpPr>
        <p:grpSpPr>
          <a:xfrm>
            <a:off x="3468344" y="5844292"/>
            <a:ext cx="5404195" cy="643264"/>
            <a:chOff x="2601258" y="4383219"/>
            <a:chExt cx="4053146" cy="482448"/>
          </a:xfrm>
        </p:grpSpPr>
        <p:pic>
          <p:nvPicPr>
            <p:cNvPr id="121" name="Picture 120"/>
            <p:cNvPicPr>
              <a:picLocks noChangeAspect="1"/>
            </p:cNvPicPr>
            <p:nvPr userDrawn="1"/>
          </p:nvPicPr>
          <p:blipFill rotWithShape="1">
            <a:blip r:embed="rId2" cstate="email">
              <a:extLst>
                <a:ext uri="{28A0092B-C50C-407E-A947-70E740481C1C}">
                  <a14:useLocalDpi xmlns:a14="http://schemas.microsoft.com/office/drawing/2010/main"/>
                </a:ext>
              </a:extLst>
            </a:blip>
            <a:srcRect r="65540"/>
            <a:stretch/>
          </p:blipFill>
          <p:spPr bwMode="auto">
            <a:xfrm>
              <a:off x="2601258" y="4383219"/>
              <a:ext cx="1434923" cy="48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22"/>
            <p:cNvPicPr>
              <a:picLocks noChangeAspect="1"/>
            </p:cNvPicPr>
            <p:nvPr userDrawn="1"/>
          </p:nvPicPr>
          <p:blipFill rotWithShape="1">
            <a:blip r:embed="rId2" cstate="email">
              <a:extLst>
                <a:ext uri="{28A0092B-C50C-407E-A947-70E740481C1C}">
                  <a14:useLocalDpi xmlns:a14="http://schemas.microsoft.com/office/drawing/2010/main"/>
                </a:ext>
              </a:extLst>
            </a:blip>
            <a:srcRect l="49403"/>
            <a:stretch/>
          </p:blipFill>
          <p:spPr bwMode="auto">
            <a:xfrm>
              <a:off x="4547536" y="4383219"/>
              <a:ext cx="2106868" cy="48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p:cNvGrpSpPr/>
          <p:nvPr/>
        </p:nvGrpSpPr>
        <p:grpSpPr>
          <a:xfrm>
            <a:off x="5413708" y="5789387"/>
            <a:ext cx="617539" cy="622300"/>
            <a:chOff x="4108846" y="1997013"/>
            <a:chExt cx="463154" cy="466725"/>
          </a:xfrm>
        </p:grpSpPr>
        <p:sp>
          <p:nvSpPr>
            <p:cNvPr id="14" name="Freeform 65"/>
            <p:cNvSpPr>
              <a:spLocks/>
            </p:cNvSpPr>
            <p:nvPr userDrawn="1"/>
          </p:nvSpPr>
          <p:spPr bwMode="auto">
            <a:xfrm>
              <a:off x="4108846" y="1997013"/>
              <a:ext cx="463154" cy="466725"/>
            </a:xfrm>
            <a:custGeom>
              <a:avLst/>
              <a:gdLst>
                <a:gd name="T0" fmla="*/ 982 w 982"/>
                <a:gd name="T1" fmla="*/ 491 h 982"/>
                <a:gd name="T2" fmla="*/ 982 w 982"/>
                <a:gd name="T3" fmla="*/ 491 h 982"/>
                <a:gd name="T4" fmla="*/ 491 w 982"/>
                <a:gd name="T5" fmla="*/ 982 h 982"/>
                <a:gd name="T6" fmla="*/ 0 w 982"/>
                <a:gd name="T7" fmla="*/ 491 h 982"/>
                <a:gd name="T8" fmla="*/ 491 w 982"/>
                <a:gd name="T9" fmla="*/ 0 h 982"/>
                <a:gd name="T10" fmla="*/ 982 w 982"/>
                <a:gd name="T11" fmla="*/ 491 h 982"/>
                <a:gd name="T12" fmla="*/ 982 w 982"/>
                <a:gd name="T13" fmla="*/ 491 h 982"/>
              </a:gdLst>
              <a:ahLst/>
              <a:cxnLst>
                <a:cxn ang="0">
                  <a:pos x="T0" y="T1"/>
                </a:cxn>
                <a:cxn ang="0">
                  <a:pos x="T2" y="T3"/>
                </a:cxn>
                <a:cxn ang="0">
                  <a:pos x="T4" y="T5"/>
                </a:cxn>
                <a:cxn ang="0">
                  <a:pos x="T6" y="T7"/>
                </a:cxn>
                <a:cxn ang="0">
                  <a:pos x="T8" y="T9"/>
                </a:cxn>
                <a:cxn ang="0">
                  <a:pos x="T10" y="T11"/>
                </a:cxn>
                <a:cxn ang="0">
                  <a:pos x="T12" y="T13"/>
                </a:cxn>
              </a:cxnLst>
              <a:rect l="0" t="0" r="r" b="b"/>
              <a:pathLst>
                <a:path w="982" h="982">
                  <a:moveTo>
                    <a:pt x="982" y="491"/>
                  </a:moveTo>
                  <a:lnTo>
                    <a:pt x="982" y="491"/>
                  </a:lnTo>
                  <a:cubicBezTo>
                    <a:pt x="982" y="762"/>
                    <a:pt x="762" y="982"/>
                    <a:pt x="491" y="982"/>
                  </a:cubicBezTo>
                  <a:cubicBezTo>
                    <a:pt x="220" y="982"/>
                    <a:pt x="0" y="762"/>
                    <a:pt x="0" y="491"/>
                  </a:cubicBezTo>
                  <a:cubicBezTo>
                    <a:pt x="0" y="220"/>
                    <a:pt x="220" y="0"/>
                    <a:pt x="491" y="0"/>
                  </a:cubicBezTo>
                  <a:cubicBezTo>
                    <a:pt x="762" y="0"/>
                    <a:pt x="982" y="220"/>
                    <a:pt x="982" y="491"/>
                  </a:cubicBezTo>
                  <a:lnTo>
                    <a:pt x="982" y="491"/>
                  </a:lnTo>
                  <a:close/>
                </a:path>
              </a:pathLst>
            </a:custGeom>
            <a:solidFill>
              <a:srgbClr val="E70419"/>
            </a:solidFill>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US" sz="1800"/>
            </a:p>
          </p:txBody>
        </p:sp>
        <p:sp>
          <p:nvSpPr>
            <p:cNvPr id="17" name="Freeform 66"/>
            <p:cNvSpPr>
              <a:spLocks/>
            </p:cNvSpPr>
            <p:nvPr userDrawn="1"/>
          </p:nvSpPr>
          <p:spPr bwMode="auto">
            <a:xfrm>
              <a:off x="4211201" y="2137704"/>
              <a:ext cx="195263" cy="189310"/>
            </a:xfrm>
            <a:custGeom>
              <a:avLst/>
              <a:gdLst>
                <a:gd name="T0" fmla="*/ 280 w 414"/>
                <a:gd name="T1" fmla="*/ 141 h 398"/>
                <a:gd name="T2" fmla="*/ 280 w 414"/>
                <a:gd name="T3" fmla="*/ 141 h 398"/>
                <a:gd name="T4" fmla="*/ 365 w 414"/>
                <a:gd name="T5" fmla="*/ 226 h 398"/>
                <a:gd name="T6" fmla="*/ 345 w 414"/>
                <a:gd name="T7" fmla="*/ 268 h 398"/>
                <a:gd name="T8" fmla="*/ 310 w 414"/>
                <a:gd name="T9" fmla="*/ 309 h 398"/>
                <a:gd name="T10" fmla="*/ 257 w 414"/>
                <a:gd name="T11" fmla="*/ 345 h 398"/>
                <a:gd name="T12" fmla="*/ 201 w 414"/>
                <a:gd name="T13" fmla="*/ 355 h 398"/>
                <a:gd name="T14" fmla="*/ 144 w 414"/>
                <a:gd name="T15" fmla="*/ 341 h 398"/>
                <a:gd name="T16" fmla="*/ 93 w 414"/>
                <a:gd name="T17" fmla="*/ 305 h 398"/>
                <a:gd name="T18" fmla="*/ 57 w 414"/>
                <a:gd name="T19" fmla="*/ 254 h 398"/>
                <a:gd name="T20" fmla="*/ 43 w 414"/>
                <a:gd name="T21" fmla="*/ 197 h 398"/>
                <a:gd name="T22" fmla="*/ 53 w 414"/>
                <a:gd name="T23" fmla="*/ 141 h 398"/>
                <a:gd name="T24" fmla="*/ 89 w 414"/>
                <a:gd name="T25" fmla="*/ 88 h 398"/>
                <a:gd name="T26" fmla="*/ 112 w 414"/>
                <a:gd name="T27" fmla="*/ 69 h 398"/>
                <a:gd name="T28" fmla="*/ 139 w 414"/>
                <a:gd name="T29" fmla="*/ 55 h 398"/>
                <a:gd name="T30" fmla="*/ 166 w 414"/>
                <a:gd name="T31" fmla="*/ 47 h 398"/>
                <a:gd name="T32" fmla="*/ 193 w 414"/>
                <a:gd name="T33" fmla="*/ 46 h 398"/>
                <a:gd name="T34" fmla="*/ 198 w 414"/>
                <a:gd name="T35" fmla="*/ 46 h 398"/>
                <a:gd name="T36" fmla="*/ 197 w 414"/>
                <a:gd name="T37" fmla="*/ 1 h 398"/>
                <a:gd name="T38" fmla="*/ 192 w 414"/>
                <a:gd name="T39" fmla="*/ 0 h 398"/>
                <a:gd name="T40" fmla="*/ 191 w 414"/>
                <a:gd name="T41" fmla="*/ 0 h 398"/>
                <a:gd name="T42" fmla="*/ 60 w 414"/>
                <a:gd name="T43" fmla="*/ 59 h 398"/>
                <a:gd name="T44" fmla="*/ 15 w 414"/>
                <a:gd name="T45" fmla="*/ 125 h 398"/>
                <a:gd name="T46" fmla="*/ 1 w 414"/>
                <a:gd name="T47" fmla="*/ 198 h 398"/>
                <a:gd name="T48" fmla="*/ 16 w 414"/>
                <a:gd name="T49" fmla="*/ 270 h 398"/>
                <a:gd name="T50" fmla="*/ 62 w 414"/>
                <a:gd name="T51" fmla="*/ 336 h 398"/>
                <a:gd name="T52" fmla="*/ 128 w 414"/>
                <a:gd name="T53" fmla="*/ 382 h 398"/>
                <a:gd name="T54" fmla="*/ 200 w 414"/>
                <a:gd name="T55" fmla="*/ 398 h 398"/>
                <a:gd name="T56" fmla="*/ 203 w 414"/>
                <a:gd name="T57" fmla="*/ 398 h 398"/>
                <a:gd name="T58" fmla="*/ 273 w 414"/>
                <a:gd name="T59" fmla="*/ 383 h 398"/>
                <a:gd name="T60" fmla="*/ 339 w 414"/>
                <a:gd name="T61" fmla="*/ 338 h 398"/>
                <a:gd name="T62" fmla="*/ 384 w 414"/>
                <a:gd name="T63" fmla="*/ 282 h 398"/>
                <a:gd name="T64" fmla="*/ 413 w 414"/>
                <a:gd name="T65" fmla="*/ 216 h 398"/>
                <a:gd name="T66" fmla="*/ 414 w 414"/>
                <a:gd name="T67" fmla="*/ 213 h 398"/>
                <a:gd name="T68" fmla="*/ 289 w 414"/>
                <a:gd name="T69" fmla="*/ 89 h 398"/>
                <a:gd name="T70" fmla="*/ 282 w 414"/>
                <a:gd name="T71" fmla="*/ 9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398">
                  <a:moveTo>
                    <a:pt x="280" y="141"/>
                  </a:moveTo>
                  <a:lnTo>
                    <a:pt x="280" y="141"/>
                  </a:lnTo>
                  <a:lnTo>
                    <a:pt x="365" y="226"/>
                  </a:lnTo>
                  <a:cubicBezTo>
                    <a:pt x="361" y="241"/>
                    <a:pt x="354" y="255"/>
                    <a:pt x="345" y="268"/>
                  </a:cubicBezTo>
                  <a:cubicBezTo>
                    <a:pt x="335" y="282"/>
                    <a:pt x="324" y="296"/>
                    <a:pt x="310" y="309"/>
                  </a:cubicBezTo>
                  <a:cubicBezTo>
                    <a:pt x="294" y="326"/>
                    <a:pt x="276" y="338"/>
                    <a:pt x="257" y="345"/>
                  </a:cubicBezTo>
                  <a:cubicBezTo>
                    <a:pt x="239" y="352"/>
                    <a:pt x="219" y="356"/>
                    <a:pt x="201" y="355"/>
                  </a:cubicBezTo>
                  <a:cubicBezTo>
                    <a:pt x="182" y="354"/>
                    <a:pt x="163" y="350"/>
                    <a:pt x="144" y="341"/>
                  </a:cubicBezTo>
                  <a:cubicBezTo>
                    <a:pt x="126" y="333"/>
                    <a:pt x="109" y="321"/>
                    <a:pt x="93" y="305"/>
                  </a:cubicBezTo>
                  <a:cubicBezTo>
                    <a:pt x="77" y="289"/>
                    <a:pt x="65" y="272"/>
                    <a:pt x="57" y="254"/>
                  </a:cubicBezTo>
                  <a:cubicBezTo>
                    <a:pt x="48" y="235"/>
                    <a:pt x="44" y="216"/>
                    <a:pt x="43" y="197"/>
                  </a:cubicBezTo>
                  <a:cubicBezTo>
                    <a:pt x="42" y="178"/>
                    <a:pt x="46" y="159"/>
                    <a:pt x="53" y="141"/>
                  </a:cubicBezTo>
                  <a:cubicBezTo>
                    <a:pt x="60" y="122"/>
                    <a:pt x="72" y="104"/>
                    <a:pt x="89" y="88"/>
                  </a:cubicBezTo>
                  <a:cubicBezTo>
                    <a:pt x="95" y="81"/>
                    <a:pt x="103" y="75"/>
                    <a:pt x="112" y="69"/>
                  </a:cubicBezTo>
                  <a:cubicBezTo>
                    <a:pt x="120" y="64"/>
                    <a:pt x="129" y="59"/>
                    <a:pt x="139" y="55"/>
                  </a:cubicBezTo>
                  <a:cubicBezTo>
                    <a:pt x="148" y="52"/>
                    <a:pt x="157" y="49"/>
                    <a:pt x="166" y="47"/>
                  </a:cubicBezTo>
                  <a:cubicBezTo>
                    <a:pt x="176" y="46"/>
                    <a:pt x="185" y="45"/>
                    <a:pt x="193" y="46"/>
                  </a:cubicBezTo>
                  <a:lnTo>
                    <a:pt x="198" y="46"/>
                  </a:lnTo>
                  <a:lnTo>
                    <a:pt x="197" y="1"/>
                  </a:lnTo>
                  <a:lnTo>
                    <a:pt x="192" y="0"/>
                  </a:lnTo>
                  <a:lnTo>
                    <a:pt x="191" y="0"/>
                  </a:lnTo>
                  <a:cubicBezTo>
                    <a:pt x="143" y="0"/>
                    <a:pt x="99" y="20"/>
                    <a:pt x="60" y="59"/>
                  </a:cubicBezTo>
                  <a:cubicBezTo>
                    <a:pt x="40" y="79"/>
                    <a:pt x="25" y="102"/>
                    <a:pt x="15" y="125"/>
                  </a:cubicBezTo>
                  <a:cubicBezTo>
                    <a:pt x="5" y="149"/>
                    <a:pt x="0" y="173"/>
                    <a:pt x="1" y="198"/>
                  </a:cubicBezTo>
                  <a:cubicBezTo>
                    <a:pt x="1" y="222"/>
                    <a:pt x="6" y="246"/>
                    <a:pt x="16" y="270"/>
                  </a:cubicBezTo>
                  <a:cubicBezTo>
                    <a:pt x="27" y="294"/>
                    <a:pt x="42" y="316"/>
                    <a:pt x="62" y="336"/>
                  </a:cubicBezTo>
                  <a:cubicBezTo>
                    <a:pt x="82" y="356"/>
                    <a:pt x="104" y="371"/>
                    <a:pt x="128" y="382"/>
                  </a:cubicBezTo>
                  <a:cubicBezTo>
                    <a:pt x="152" y="392"/>
                    <a:pt x="176" y="397"/>
                    <a:pt x="200" y="398"/>
                  </a:cubicBezTo>
                  <a:cubicBezTo>
                    <a:pt x="201" y="398"/>
                    <a:pt x="202" y="398"/>
                    <a:pt x="203" y="398"/>
                  </a:cubicBezTo>
                  <a:cubicBezTo>
                    <a:pt x="227" y="398"/>
                    <a:pt x="250" y="393"/>
                    <a:pt x="273" y="383"/>
                  </a:cubicBezTo>
                  <a:cubicBezTo>
                    <a:pt x="296" y="373"/>
                    <a:pt x="319" y="358"/>
                    <a:pt x="339" y="338"/>
                  </a:cubicBezTo>
                  <a:cubicBezTo>
                    <a:pt x="356" y="321"/>
                    <a:pt x="371" y="302"/>
                    <a:pt x="384" y="282"/>
                  </a:cubicBezTo>
                  <a:cubicBezTo>
                    <a:pt x="396" y="262"/>
                    <a:pt x="406" y="240"/>
                    <a:pt x="413" y="216"/>
                  </a:cubicBezTo>
                  <a:lnTo>
                    <a:pt x="414" y="213"/>
                  </a:lnTo>
                  <a:lnTo>
                    <a:pt x="289" y="89"/>
                  </a:lnTo>
                  <a:lnTo>
                    <a:pt x="282" y="95"/>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 name="Freeform 67"/>
            <p:cNvSpPr>
              <a:spLocks/>
            </p:cNvSpPr>
            <p:nvPr userDrawn="1"/>
          </p:nvSpPr>
          <p:spPr bwMode="auto">
            <a:xfrm>
              <a:off x="4289550" y="2135720"/>
              <a:ext cx="195263" cy="189310"/>
            </a:xfrm>
            <a:custGeom>
              <a:avLst/>
              <a:gdLst>
                <a:gd name="T0" fmla="*/ 134 w 414"/>
                <a:gd name="T1" fmla="*/ 256 h 397"/>
                <a:gd name="T2" fmla="*/ 134 w 414"/>
                <a:gd name="T3" fmla="*/ 256 h 397"/>
                <a:gd name="T4" fmla="*/ 49 w 414"/>
                <a:gd name="T5" fmla="*/ 171 h 397"/>
                <a:gd name="T6" fmla="*/ 69 w 414"/>
                <a:gd name="T7" fmla="*/ 130 h 397"/>
                <a:gd name="T8" fmla="*/ 104 w 414"/>
                <a:gd name="T9" fmla="*/ 88 h 397"/>
                <a:gd name="T10" fmla="*/ 157 w 414"/>
                <a:gd name="T11" fmla="*/ 53 h 397"/>
                <a:gd name="T12" fmla="*/ 213 w 414"/>
                <a:gd name="T13" fmla="*/ 43 h 397"/>
                <a:gd name="T14" fmla="*/ 270 w 414"/>
                <a:gd name="T15" fmla="*/ 56 h 397"/>
                <a:gd name="T16" fmla="*/ 321 w 414"/>
                <a:gd name="T17" fmla="*/ 93 h 397"/>
                <a:gd name="T18" fmla="*/ 357 w 414"/>
                <a:gd name="T19" fmla="*/ 144 h 397"/>
                <a:gd name="T20" fmla="*/ 371 w 414"/>
                <a:gd name="T21" fmla="*/ 200 h 397"/>
                <a:gd name="T22" fmla="*/ 361 w 414"/>
                <a:gd name="T23" fmla="*/ 257 h 397"/>
                <a:gd name="T24" fmla="*/ 325 w 414"/>
                <a:gd name="T25" fmla="*/ 310 h 397"/>
                <a:gd name="T26" fmla="*/ 302 w 414"/>
                <a:gd name="T27" fmla="*/ 328 h 397"/>
                <a:gd name="T28" fmla="*/ 275 w 414"/>
                <a:gd name="T29" fmla="*/ 342 h 397"/>
                <a:gd name="T30" fmla="*/ 248 w 414"/>
                <a:gd name="T31" fmla="*/ 350 h 397"/>
                <a:gd name="T32" fmla="*/ 221 w 414"/>
                <a:gd name="T33" fmla="*/ 352 h 397"/>
                <a:gd name="T34" fmla="*/ 216 w 414"/>
                <a:gd name="T35" fmla="*/ 351 h 397"/>
                <a:gd name="T36" fmla="*/ 217 w 414"/>
                <a:gd name="T37" fmla="*/ 397 h 397"/>
                <a:gd name="T38" fmla="*/ 222 w 414"/>
                <a:gd name="T39" fmla="*/ 397 h 397"/>
                <a:gd name="T40" fmla="*/ 223 w 414"/>
                <a:gd name="T41" fmla="*/ 397 h 397"/>
                <a:gd name="T42" fmla="*/ 354 w 414"/>
                <a:gd name="T43" fmla="*/ 338 h 397"/>
                <a:gd name="T44" fmla="*/ 399 w 414"/>
                <a:gd name="T45" fmla="*/ 272 h 397"/>
                <a:gd name="T46" fmla="*/ 413 w 414"/>
                <a:gd name="T47" fmla="*/ 200 h 397"/>
                <a:gd name="T48" fmla="*/ 398 w 414"/>
                <a:gd name="T49" fmla="*/ 128 h 397"/>
                <a:gd name="T50" fmla="*/ 352 w 414"/>
                <a:gd name="T51" fmla="*/ 62 h 397"/>
                <a:gd name="T52" fmla="*/ 286 w 414"/>
                <a:gd name="T53" fmla="*/ 16 h 397"/>
                <a:gd name="T54" fmla="*/ 214 w 414"/>
                <a:gd name="T55" fmla="*/ 0 h 397"/>
                <a:gd name="T56" fmla="*/ 141 w 414"/>
                <a:gd name="T57" fmla="*/ 14 h 397"/>
                <a:gd name="T58" fmla="*/ 75 w 414"/>
                <a:gd name="T59" fmla="*/ 60 h 397"/>
                <a:gd name="T60" fmla="*/ 30 w 414"/>
                <a:gd name="T61" fmla="*/ 115 h 397"/>
                <a:gd name="T62" fmla="*/ 1 w 414"/>
                <a:gd name="T63" fmla="*/ 182 h 397"/>
                <a:gd name="T64" fmla="*/ 0 w 414"/>
                <a:gd name="T65" fmla="*/ 184 h 397"/>
                <a:gd name="T66" fmla="*/ 125 w 414"/>
                <a:gd name="T67" fmla="*/ 309 h 397"/>
                <a:gd name="T68" fmla="*/ 132 w 414"/>
                <a:gd name="T69" fmla="*/ 302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4" h="397">
                  <a:moveTo>
                    <a:pt x="134" y="256"/>
                  </a:moveTo>
                  <a:lnTo>
                    <a:pt x="134" y="256"/>
                  </a:lnTo>
                  <a:lnTo>
                    <a:pt x="49" y="171"/>
                  </a:lnTo>
                  <a:cubicBezTo>
                    <a:pt x="53" y="157"/>
                    <a:pt x="60" y="143"/>
                    <a:pt x="69" y="130"/>
                  </a:cubicBezTo>
                  <a:cubicBezTo>
                    <a:pt x="79" y="116"/>
                    <a:pt x="90" y="102"/>
                    <a:pt x="104" y="88"/>
                  </a:cubicBezTo>
                  <a:cubicBezTo>
                    <a:pt x="120" y="72"/>
                    <a:pt x="138" y="60"/>
                    <a:pt x="157" y="53"/>
                  </a:cubicBezTo>
                  <a:cubicBezTo>
                    <a:pt x="175" y="45"/>
                    <a:pt x="195" y="42"/>
                    <a:pt x="213" y="43"/>
                  </a:cubicBezTo>
                  <a:cubicBezTo>
                    <a:pt x="232" y="43"/>
                    <a:pt x="251" y="48"/>
                    <a:pt x="270" y="56"/>
                  </a:cubicBezTo>
                  <a:cubicBezTo>
                    <a:pt x="288" y="65"/>
                    <a:pt x="305" y="77"/>
                    <a:pt x="321" y="93"/>
                  </a:cubicBezTo>
                  <a:cubicBezTo>
                    <a:pt x="337" y="108"/>
                    <a:pt x="349" y="126"/>
                    <a:pt x="357" y="144"/>
                  </a:cubicBezTo>
                  <a:cubicBezTo>
                    <a:pt x="366" y="162"/>
                    <a:pt x="370" y="181"/>
                    <a:pt x="371" y="200"/>
                  </a:cubicBezTo>
                  <a:cubicBezTo>
                    <a:pt x="372" y="219"/>
                    <a:pt x="368" y="238"/>
                    <a:pt x="361" y="257"/>
                  </a:cubicBezTo>
                  <a:cubicBezTo>
                    <a:pt x="354" y="276"/>
                    <a:pt x="342" y="293"/>
                    <a:pt x="325" y="310"/>
                  </a:cubicBezTo>
                  <a:cubicBezTo>
                    <a:pt x="319" y="317"/>
                    <a:pt x="311" y="323"/>
                    <a:pt x="302" y="328"/>
                  </a:cubicBezTo>
                  <a:cubicBezTo>
                    <a:pt x="294" y="334"/>
                    <a:pt x="285" y="338"/>
                    <a:pt x="275" y="342"/>
                  </a:cubicBezTo>
                  <a:cubicBezTo>
                    <a:pt x="266" y="346"/>
                    <a:pt x="257" y="349"/>
                    <a:pt x="248" y="350"/>
                  </a:cubicBezTo>
                  <a:cubicBezTo>
                    <a:pt x="238" y="352"/>
                    <a:pt x="229" y="352"/>
                    <a:pt x="221" y="352"/>
                  </a:cubicBezTo>
                  <a:lnTo>
                    <a:pt x="216" y="351"/>
                  </a:lnTo>
                  <a:lnTo>
                    <a:pt x="217" y="397"/>
                  </a:lnTo>
                  <a:lnTo>
                    <a:pt x="222" y="397"/>
                  </a:lnTo>
                  <a:lnTo>
                    <a:pt x="223" y="397"/>
                  </a:lnTo>
                  <a:cubicBezTo>
                    <a:pt x="271" y="397"/>
                    <a:pt x="315" y="377"/>
                    <a:pt x="354" y="338"/>
                  </a:cubicBezTo>
                  <a:cubicBezTo>
                    <a:pt x="374" y="318"/>
                    <a:pt x="389" y="296"/>
                    <a:pt x="399" y="272"/>
                  </a:cubicBezTo>
                  <a:cubicBezTo>
                    <a:pt x="409" y="248"/>
                    <a:pt x="414" y="224"/>
                    <a:pt x="413" y="200"/>
                  </a:cubicBezTo>
                  <a:cubicBezTo>
                    <a:pt x="413" y="176"/>
                    <a:pt x="408" y="151"/>
                    <a:pt x="398" y="128"/>
                  </a:cubicBezTo>
                  <a:cubicBezTo>
                    <a:pt x="387" y="104"/>
                    <a:pt x="372" y="82"/>
                    <a:pt x="352" y="62"/>
                  </a:cubicBezTo>
                  <a:cubicBezTo>
                    <a:pt x="332" y="42"/>
                    <a:pt x="310" y="26"/>
                    <a:pt x="286" y="16"/>
                  </a:cubicBezTo>
                  <a:cubicBezTo>
                    <a:pt x="262" y="6"/>
                    <a:pt x="238" y="0"/>
                    <a:pt x="214" y="0"/>
                  </a:cubicBezTo>
                  <a:cubicBezTo>
                    <a:pt x="189" y="0"/>
                    <a:pt x="165" y="4"/>
                    <a:pt x="141" y="14"/>
                  </a:cubicBezTo>
                  <a:cubicBezTo>
                    <a:pt x="118" y="24"/>
                    <a:pt x="95" y="40"/>
                    <a:pt x="75" y="60"/>
                  </a:cubicBezTo>
                  <a:cubicBezTo>
                    <a:pt x="58" y="77"/>
                    <a:pt x="43" y="95"/>
                    <a:pt x="30" y="115"/>
                  </a:cubicBezTo>
                  <a:cubicBezTo>
                    <a:pt x="18" y="135"/>
                    <a:pt x="8" y="158"/>
                    <a:pt x="1" y="182"/>
                  </a:cubicBezTo>
                  <a:lnTo>
                    <a:pt x="0" y="184"/>
                  </a:lnTo>
                  <a:lnTo>
                    <a:pt x="125" y="309"/>
                  </a:lnTo>
                  <a:lnTo>
                    <a:pt x="132" y="302"/>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grpSp>
    </p:spTree>
    <p:extLst>
      <p:ext uri="{BB962C8B-B14F-4D97-AF65-F5344CB8AC3E}">
        <p14:creationId xmlns:p14="http://schemas.microsoft.com/office/powerpoint/2010/main" val="8573101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220854156"/>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Straight Connector 10"/>
          <p:cNvCxnSpPr/>
          <p:nvPr/>
        </p:nvCxnSpPr>
        <p:spPr bwMode="auto">
          <a:xfrm flipH="1">
            <a:off x="609600" y="844144"/>
            <a:ext cx="1095248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 name="Title 3"/>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0"/>
          </p:nvPr>
        </p:nvSpPr>
        <p:spPr>
          <a:xfrm>
            <a:off x="17566" y="6480019"/>
            <a:ext cx="2586046" cy="365125"/>
          </a:xfrm>
        </p:spPr>
        <p:txBody>
          <a:bodyPr/>
          <a:lstStyle/>
          <a:p>
            <a:r>
              <a:rPr lang="en-US"/>
              <a:t>Classified: Confidential</a:t>
            </a:r>
          </a:p>
        </p:txBody>
      </p:sp>
      <p:sp>
        <p:nvSpPr>
          <p:cNvPr id="6" name="Slide Number Placeholder 6"/>
          <p:cNvSpPr>
            <a:spLocks noGrp="1"/>
          </p:cNvSpPr>
          <p:nvPr>
            <p:ph type="sldNum" sz="quarter" idx="4"/>
          </p:nvPr>
        </p:nvSpPr>
        <p:spPr>
          <a:xfrm>
            <a:off x="4714240" y="6484255"/>
            <a:ext cx="2743200" cy="365125"/>
          </a:xfrm>
          <a:prstGeom prst="rect">
            <a:avLst/>
          </a:prstGeom>
        </p:spPr>
        <p:txBody>
          <a:bodyPr vert="horz" lIns="91440" tIns="45720" rIns="91440" bIns="45720" rtlCol="0" anchor="ctr"/>
          <a:lstStyle>
            <a:lvl1pPr algn="ctr">
              <a:defRPr sz="1200" i="1">
                <a:solidFill>
                  <a:schemeClr val="tx1">
                    <a:lumMod val="65000"/>
                    <a:lumOff val="35000"/>
                  </a:schemeClr>
                </a:solidFill>
              </a:defRPr>
            </a:lvl1pPr>
          </a:lstStyle>
          <a:p>
            <a:fld id="{5242C4DC-1FF5-472D-AB46-012295A93E1F}" type="slidenum">
              <a:rPr lang="en-US" smtClean="0"/>
              <a:t>‹#›</a:t>
            </a:fld>
            <a:endParaRPr lang="en-US"/>
          </a:p>
        </p:txBody>
      </p:sp>
    </p:spTree>
    <p:extLst>
      <p:ext uri="{BB962C8B-B14F-4D97-AF65-F5344CB8AC3E}">
        <p14:creationId xmlns:p14="http://schemas.microsoft.com/office/powerpoint/2010/main" val="1582116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Brea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7736419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Straight Connector 10"/>
          <p:cNvCxnSpPr/>
          <p:nvPr/>
        </p:nvCxnSpPr>
        <p:spPr bwMode="auto">
          <a:xfrm flipH="1">
            <a:off x="609600" y="844144"/>
            <a:ext cx="1095248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 name="Title 3"/>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0"/>
          </p:nvPr>
        </p:nvSpPr>
        <p:spPr>
          <a:xfrm>
            <a:off x="17566" y="6480019"/>
            <a:ext cx="1623559" cy="365125"/>
          </a:xfrm>
        </p:spPr>
        <p:txBody>
          <a:bodyPr/>
          <a:lstStyle/>
          <a:p>
            <a:r>
              <a:rPr lang="en-US"/>
              <a:t>Classified: Confidential</a:t>
            </a:r>
          </a:p>
        </p:txBody>
      </p:sp>
      <p:sp>
        <p:nvSpPr>
          <p:cNvPr id="6" name="Slide Number Placeholder 6"/>
          <p:cNvSpPr>
            <a:spLocks noGrp="1"/>
          </p:cNvSpPr>
          <p:nvPr>
            <p:ph type="sldNum" sz="quarter" idx="4"/>
          </p:nvPr>
        </p:nvSpPr>
        <p:spPr>
          <a:xfrm>
            <a:off x="4714240" y="6484255"/>
            <a:ext cx="2743200" cy="365125"/>
          </a:xfrm>
          <a:prstGeom prst="rect">
            <a:avLst/>
          </a:prstGeom>
        </p:spPr>
        <p:txBody>
          <a:bodyPr vert="horz" lIns="91440" tIns="45720" rIns="91440" bIns="45720" rtlCol="0" anchor="ctr"/>
          <a:lstStyle>
            <a:lvl1pPr algn="ctr">
              <a:defRPr sz="1200" i="1">
                <a:solidFill>
                  <a:schemeClr val="tx1">
                    <a:lumMod val="65000"/>
                    <a:lumOff val="35000"/>
                  </a:schemeClr>
                </a:solidFill>
              </a:defRPr>
            </a:lvl1pPr>
          </a:lstStyle>
          <a:p>
            <a:fld id="{5242C4DC-1FF5-472D-AB46-012295A93E1F}" type="slidenum">
              <a:rPr lang="en-US" smtClean="0"/>
              <a:t>‹#›</a:t>
            </a:fld>
            <a:endParaRPr lang="en-US"/>
          </a:p>
        </p:txBody>
      </p:sp>
    </p:spTree>
    <p:extLst>
      <p:ext uri="{BB962C8B-B14F-4D97-AF65-F5344CB8AC3E}">
        <p14:creationId xmlns:p14="http://schemas.microsoft.com/office/powerpoint/2010/main" val="14566486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701787376"/>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TCLayout.ActiveDocument.1">
                  <p:embed/>
                </p:oleObj>
              </mc:Choice>
              <mc:Fallback>
                <p:oleObj name="think-cell Slide" r:id="rId4" imgW="360" imgH="36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re 1"/>
          <p:cNvSpPr>
            <a:spLocks noGrp="1"/>
          </p:cNvSpPr>
          <p:nvPr>
            <p:ph type="title"/>
          </p:nvPr>
        </p:nvSpPr>
        <p:spPr>
          <a:xfrm>
            <a:off x="609601" y="116113"/>
            <a:ext cx="10813143" cy="631053"/>
          </a:xfrm>
          <a:prstGeom prst="rect">
            <a:avLst/>
          </a:prstGeom>
        </p:spPr>
        <p:txBody>
          <a:bodyPr anchor="ctr">
            <a:normAutofit/>
          </a:bodyPr>
          <a:lstStyle>
            <a:lvl1pPr algn="l">
              <a:defRPr sz="3200" b="1">
                <a:ln>
                  <a:noFill/>
                </a:ln>
                <a:solidFill>
                  <a:schemeClr val="tx1">
                    <a:lumMod val="65000"/>
                    <a:lumOff val="35000"/>
                  </a:schemeClr>
                </a:solidFill>
                <a:latin typeface="Calibri" pitchFamily="34" charset="0"/>
              </a:defRPr>
            </a:lvl1pPr>
          </a:lstStyle>
          <a:p>
            <a:r>
              <a:rPr lang="en-US"/>
              <a:t>Click to edit Master title style</a:t>
            </a:r>
            <a:endParaRPr lang="fr-FR" dirty="0"/>
          </a:p>
        </p:txBody>
      </p:sp>
      <p:cxnSp>
        <p:nvCxnSpPr>
          <p:cNvPr id="11" name="Straight Connector 10"/>
          <p:cNvCxnSpPr/>
          <p:nvPr/>
        </p:nvCxnSpPr>
        <p:spPr bwMode="auto">
          <a:xfrm flipH="1">
            <a:off x="609600" y="844144"/>
            <a:ext cx="1095248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 name="Content Placeholder 2"/>
          <p:cNvSpPr>
            <a:spLocks noGrp="1"/>
          </p:cNvSpPr>
          <p:nvPr>
            <p:ph sz="quarter" idx="10"/>
          </p:nvPr>
        </p:nvSpPr>
        <p:spPr>
          <a:xfrm>
            <a:off x="609602" y="1123952"/>
            <a:ext cx="10951633" cy="4897967"/>
          </a:xfrm>
          <a:prstGeom prst="rect">
            <a:avLst/>
          </a:prstGeom>
        </p:spPr>
        <p:txBody>
          <a:bodyPr/>
          <a:lstStyle>
            <a:lvl1pPr>
              <a:buClr>
                <a:srgbClr val="E70419"/>
              </a:buClr>
              <a:defRPr sz="2800"/>
            </a:lvl1pPr>
            <a:lvl2pPr>
              <a:buClr>
                <a:srgbClr val="E70419"/>
              </a:buClr>
              <a:defRPr sz="2400"/>
            </a:lvl2pPr>
            <a:lvl3pPr>
              <a:buClr>
                <a:srgbClr val="E70419"/>
              </a:buClr>
              <a:defRPr sz="2000"/>
            </a:lvl3pPr>
            <a:lvl4pPr>
              <a:buClr>
                <a:srgbClr val="E70419"/>
              </a:buClr>
              <a:defRPr sz="2000"/>
            </a:lvl4pPr>
            <a:lvl5pPr>
              <a:buClr>
                <a:srgbClr val="E70419"/>
              </a:buCl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1324" y="6484255"/>
            <a:ext cx="4114800" cy="365125"/>
          </a:xfrm>
        </p:spPr>
        <p:txBody>
          <a:bodyPr/>
          <a:lstStyle/>
          <a:p>
            <a:r>
              <a:rPr lang="en-US" dirty="0"/>
              <a:t>Classified: Confidential</a:t>
            </a:r>
          </a:p>
        </p:txBody>
      </p:sp>
      <p:sp>
        <p:nvSpPr>
          <p:cNvPr id="6" name="Slide Number Placeholder 5"/>
          <p:cNvSpPr>
            <a:spLocks noGrp="1"/>
          </p:cNvSpPr>
          <p:nvPr>
            <p:ph type="sldNum" sz="quarter" idx="12"/>
          </p:nvPr>
        </p:nvSpPr>
        <p:spPr>
          <a:xfrm>
            <a:off x="4714240" y="6484254"/>
            <a:ext cx="2743200" cy="365125"/>
          </a:xfrm>
        </p:spPr>
        <p:txBody>
          <a:bodyPr/>
          <a:lstStyle/>
          <a:p>
            <a:fld id="{5242C4DC-1FF5-472D-AB46-012295A93E1F}" type="slidenum">
              <a:rPr lang="en-US" smtClean="0"/>
              <a:t>‹#›</a:t>
            </a:fld>
            <a:endParaRPr lang="en-US"/>
          </a:p>
        </p:txBody>
      </p:sp>
    </p:spTree>
    <p:extLst>
      <p:ext uri="{BB962C8B-B14F-4D97-AF65-F5344CB8AC3E}">
        <p14:creationId xmlns:p14="http://schemas.microsoft.com/office/powerpoint/2010/main" val="304641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64520871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TCLayout.ActiveDocument.1">
                  <p:embed/>
                </p:oleObj>
              </mc:Choice>
              <mc:Fallback>
                <p:oleObj name="think-cell Slide" r:id="rId4" imgW="360" imgH="36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re 1"/>
          <p:cNvSpPr>
            <a:spLocks noGrp="1"/>
          </p:cNvSpPr>
          <p:nvPr>
            <p:ph type="title"/>
          </p:nvPr>
        </p:nvSpPr>
        <p:spPr>
          <a:xfrm>
            <a:off x="609601" y="116113"/>
            <a:ext cx="10813143" cy="631053"/>
          </a:xfrm>
          <a:prstGeom prst="rect">
            <a:avLst/>
          </a:prstGeom>
        </p:spPr>
        <p:txBody>
          <a:bodyPr anchor="ctr">
            <a:normAutofit/>
          </a:bodyPr>
          <a:lstStyle>
            <a:lvl1pPr algn="l">
              <a:defRPr sz="3200" b="1">
                <a:ln>
                  <a:noFill/>
                </a:ln>
                <a:solidFill>
                  <a:schemeClr val="tx1">
                    <a:lumMod val="65000"/>
                    <a:lumOff val="35000"/>
                  </a:schemeClr>
                </a:solidFill>
                <a:latin typeface="Calibri" pitchFamily="34" charset="0"/>
              </a:defRPr>
            </a:lvl1pPr>
          </a:lstStyle>
          <a:p>
            <a:r>
              <a:rPr lang="en-US"/>
              <a:t>Click to edit Master title style</a:t>
            </a:r>
            <a:endParaRPr lang="fr-FR" dirty="0"/>
          </a:p>
        </p:txBody>
      </p:sp>
      <p:cxnSp>
        <p:nvCxnSpPr>
          <p:cNvPr id="11" name="Straight Connector 10"/>
          <p:cNvCxnSpPr/>
          <p:nvPr/>
        </p:nvCxnSpPr>
        <p:spPr bwMode="auto">
          <a:xfrm flipH="1">
            <a:off x="609600" y="844144"/>
            <a:ext cx="1095248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 name="Content Placeholder 2"/>
          <p:cNvSpPr>
            <a:spLocks noGrp="1"/>
          </p:cNvSpPr>
          <p:nvPr>
            <p:ph sz="quarter" idx="10"/>
          </p:nvPr>
        </p:nvSpPr>
        <p:spPr>
          <a:xfrm>
            <a:off x="609602" y="1123954"/>
            <a:ext cx="9806879" cy="2065021"/>
          </a:xfrm>
          <a:prstGeom prst="rect">
            <a:avLst/>
          </a:prstGeom>
        </p:spPr>
        <p:txBody>
          <a:bodyPr/>
          <a:lstStyle>
            <a:lvl1pPr>
              <a:buClr>
                <a:srgbClr val="E70419"/>
              </a:buClr>
              <a:defRPr sz="2800"/>
            </a:lvl1pPr>
            <a:lvl2pPr>
              <a:buClr>
                <a:srgbClr val="E70419"/>
              </a:buClr>
              <a:defRPr sz="2400"/>
            </a:lvl2pPr>
            <a:lvl3pPr>
              <a:buClr>
                <a:srgbClr val="E70419"/>
              </a:buClr>
              <a:defRPr sz="2000"/>
            </a:lvl3pPr>
            <a:lvl4pPr>
              <a:buClr>
                <a:srgbClr val="E70419"/>
              </a:buClr>
              <a:defRPr sz="2000"/>
            </a:lvl4pPr>
            <a:lvl5pPr>
              <a:buClr>
                <a:srgbClr val="E70419"/>
              </a:buCl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0" y="6489340"/>
            <a:ext cx="4114800" cy="365125"/>
          </a:xfrm>
        </p:spPr>
        <p:txBody>
          <a:bodyPr/>
          <a:lstStyle/>
          <a:p>
            <a:r>
              <a:rPr lang="en-US"/>
              <a:t>Classified: Confidential</a:t>
            </a:r>
          </a:p>
        </p:txBody>
      </p:sp>
      <p:sp>
        <p:nvSpPr>
          <p:cNvPr id="6" name="Slide Number Placeholder 5"/>
          <p:cNvSpPr>
            <a:spLocks noGrp="1"/>
          </p:cNvSpPr>
          <p:nvPr>
            <p:ph type="sldNum" sz="quarter" idx="12"/>
          </p:nvPr>
        </p:nvSpPr>
        <p:spPr>
          <a:xfrm>
            <a:off x="4714240" y="6484255"/>
            <a:ext cx="2743200" cy="365125"/>
          </a:xfrm>
        </p:spPr>
        <p:txBody>
          <a:bodyPr/>
          <a:lstStyle/>
          <a:p>
            <a:fld id="{5242C4DC-1FF5-472D-AB46-012295A93E1F}" type="slidenum">
              <a:rPr lang="en-US" smtClean="0"/>
              <a:t>‹#›</a:t>
            </a:fld>
            <a:endParaRPr lang="en-US"/>
          </a:p>
        </p:txBody>
      </p:sp>
      <p:sp>
        <p:nvSpPr>
          <p:cNvPr id="12" name="Content Placeholder 2"/>
          <p:cNvSpPr>
            <a:spLocks noGrp="1"/>
          </p:cNvSpPr>
          <p:nvPr>
            <p:ph sz="quarter" idx="13"/>
          </p:nvPr>
        </p:nvSpPr>
        <p:spPr>
          <a:xfrm>
            <a:off x="609601" y="3468783"/>
            <a:ext cx="9806879" cy="2065021"/>
          </a:xfrm>
          <a:prstGeom prst="rect">
            <a:avLst/>
          </a:prstGeom>
        </p:spPr>
        <p:txBody>
          <a:bodyPr/>
          <a:lstStyle>
            <a:lvl1pPr>
              <a:buClr>
                <a:srgbClr val="E70419"/>
              </a:buClr>
              <a:defRPr sz="2800"/>
            </a:lvl1pPr>
            <a:lvl2pPr>
              <a:buClr>
                <a:srgbClr val="E70419"/>
              </a:buClr>
              <a:defRPr sz="2400"/>
            </a:lvl2pPr>
            <a:lvl3pPr>
              <a:buClr>
                <a:srgbClr val="E70419"/>
              </a:buClr>
              <a:defRPr sz="2000"/>
            </a:lvl3pPr>
            <a:lvl4pPr>
              <a:buClr>
                <a:srgbClr val="E70419"/>
              </a:buClr>
              <a:defRPr sz="2000"/>
            </a:lvl4pPr>
            <a:lvl5pPr>
              <a:buClr>
                <a:srgbClr val="E70419"/>
              </a:buCl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6989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77358133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TCLayout.ActiveDocument.1">
                  <p:embed/>
                </p:oleObj>
              </mc:Choice>
              <mc:Fallback>
                <p:oleObj name="think-cell Slide" r:id="rId4" imgW="360" imgH="36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re 1"/>
          <p:cNvSpPr>
            <a:spLocks noGrp="1"/>
          </p:cNvSpPr>
          <p:nvPr>
            <p:ph type="title"/>
          </p:nvPr>
        </p:nvSpPr>
        <p:spPr>
          <a:xfrm>
            <a:off x="522820" y="116113"/>
            <a:ext cx="10841867" cy="624587"/>
          </a:xfrm>
          <a:prstGeom prst="rect">
            <a:avLst/>
          </a:prstGeom>
        </p:spPr>
        <p:txBody>
          <a:bodyPr vert="horz" lIns="91440" tIns="45720" rIns="91440" bIns="45720" rtlCol="0" anchor="ctr">
            <a:noAutofit/>
          </a:bodyPr>
          <a:lstStyle>
            <a:lvl1pPr>
              <a:defRPr lang="fr-FR" dirty="0"/>
            </a:lvl1pPr>
          </a:lstStyle>
          <a:p>
            <a:pPr lvl="0"/>
            <a:r>
              <a:rPr lang="en-US"/>
              <a:t>Click to edit Master title style</a:t>
            </a:r>
            <a:endParaRPr lang="fr-FR" dirty="0"/>
          </a:p>
        </p:txBody>
      </p:sp>
      <p:cxnSp>
        <p:nvCxnSpPr>
          <p:cNvPr id="11" name="Straight Connector 10"/>
          <p:cNvCxnSpPr/>
          <p:nvPr/>
        </p:nvCxnSpPr>
        <p:spPr bwMode="auto">
          <a:xfrm flipH="1">
            <a:off x="609600" y="844144"/>
            <a:ext cx="1095248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8" name="Text Placeholder 2"/>
          <p:cNvSpPr>
            <a:spLocks noGrp="1"/>
          </p:cNvSpPr>
          <p:nvPr>
            <p:ph type="body" idx="1"/>
          </p:nvPr>
        </p:nvSpPr>
        <p:spPr>
          <a:xfrm>
            <a:off x="522820" y="932724"/>
            <a:ext cx="5082117" cy="624069"/>
          </a:xfrm>
          <a:prstGeom prst="rect">
            <a:avLst/>
          </a:prstGeom>
        </p:spPr>
        <p:txBody>
          <a:bodyPr anchor="b">
            <a:normAutofit/>
          </a:bodyPr>
          <a:lstStyle>
            <a:lvl1pPr marL="0" indent="0">
              <a:buNone/>
              <a:defRPr sz="28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12" name="Content Placeholder 3"/>
          <p:cNvSpPr>
            <a:spLocks noGrp="1"/>
          </p:cNvSpPr>
          <p:nvPr>
            <p:ph sz="half" idx="2"/>
          </p:nvPr>
        </p:nvSpPr>
        <p:spPr>
          <a:xfrm>
            <a:off x="522820" y="1748816"/>
            <a:ext cx="5082117" cy="4416491"/>
          </a:xfrm>
          <a:prstGeom prst="rect">
            <a:avLst/>
          </a:prstGeom>
        </p:spPr>
        <p:txBody>
          <a:bodyPr/>
          <a:lstStyle>
            <a:lvl1pPr>
              <a:buClr>
                <a:srgbClr val="E70419"/>
              </a:buClr>
              <a:defRPr sz="2400"/>
            </a:lvl1pPr>
            <a:lvl2pPr>
              <a:buClr>
                <a:srgbClr val="E70419"/>
              </a:buClr>
              <a:defRPr sz="2000"/>
            </a:lvl2pPr>
            <a:lvl3pPr>
              <a:buClr>
                <a:srgbClr val="E70419"/>
              </a:buClr>
              <a:defRPr sz="2000"/>
            </a:lvl3pPr>
            <a:lvl4pPr>
              <a:buClr>
                <a:srgbClr val="E70419"/>
              </a:buClr>
              <a:defRPr sz="1800"/>
            </a:lvl4pPr>
            <a:lvl5pPr>
              <a:buClr>
                <a:srgbClr val="E70419"/>
              </a:buClr>
              <a:defRPr sz="18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4"/>
          <p:cNvSpPr>
            <a:spLocks noGrp="1"/>
          </p:cNvSpPr>
          <p:nvPr>
            <p:ph type="body" sz="quarter" idx="3"/>
          </p:nvPr>
        </p:nvSpPr>
        <p:spPr>
          <a:xfrm>
            <a:off x="5905625" y="932724"/>
            <a:ext cx="5084113" cy="624069"/>
          </a:xfrm>
          <a:prstGeom prst="rect">
            <a:avLst/>
          </a:prstGeom>
        </p:spPr>
        <p:txBody>
          <a:bodyPr anchor="b">
            <a:normAutofit/>
          </a:bodyPr>
          <a:lstStyle>
            <a:lvl1pPr marL="0" indent="0">
              <a:buNone/>
              <a:defRPr sz="28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14" name="Content Placeholder 5"/>
          <p:cNvSpPr>
            <a:spLocks noGrp="1"/>
          </p:cNvSpPr>
          <p:nvPr>
            <p:ph sz="quarter" idx="4"/>
          </p:nvPr>
        </p:nvSpPr>
        <p:spPr>
          <a:xfrm>
            <a:off x="5905625" y="1748816"/>
            <a:ext cx="5084113" cy="4416491"/>
          </a:xfrm>
          <a:prstGeom prst="rect">
            <a:avLst/>
          </a:prstGeom>
        </p:spPr>
        <p:txBody>
          <a:bodyPr/>
          <a:lstStyle>
            <a:lvl1pPr>
              <a:buClr>
                <a:srgbClr val="E70419"/>
              </a:buClr>
              <a:defRPr sz="2400"/>
            </a:lvl1pPr>
            <a:lvl2pPr>
              <a:buClr>
                <a:srgbClr val="E70419"/>
              </a:buClr>
              <a:defRPr sz="2000"/>
            </a:lvl2pPr>
            <a:lvl3pPr>
              <a:buClr>
                <a:srgbClr val="E70419"/>
              </a:buClr>
              <a:defRPr sz="2000"/>
            </a:lvl3pPr>
            <a:lvl4pPr>
              <a:buClr>
                <a:srgbClr val="E70419"/>
              </a:buClr>
              <a:defRPr sz="1800"/>
            </a:lvl4pPr>
            <a:lvl5pPr>
              <a:buClr>
                <a:srgbClr val="E70419"/>
              </a:buClr>
              <a:defRPr sz="18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11324" y="6484255"/>
            <a:ext cx="4114800" cy="365125"/>
          </a:xfrm>
        </p:spPr>
        <p:txBody>
          <a:bodyPr/>
          <a:lstStyle/>
          <a:p>
            <a:r>
              <a:rPr lang="en-US"/>
              <a:t>Classified: Confidential</a:t>
            </a:r>
          </a:p>
        </p:txBody>
      </p:sp>
      <p:sp>
        <p:nvSpPr>
          <p:cNvPr id="5" name="Slide Number Placeholder 4"/>
          <p:cNvSpPr>
            <a:spLocks noGrp="1"/>
          </p:cNvSpPr>
          <p:nvPr>
            <p:ph type="sldNum" sz="quarter" idx="11"/>
          </p:nvPr>
        </p:nvSpPr>
        <p:spPr>
          <a:xfrm>
            <a:off x="4714240" y="6484255"/>
            <a:ext cx="2743200" cy="365125"/>
          </a:xfrm>
        </p:spPr>
        <p:txBody>
          <a:bodyPr/>
          <a:lstStyle/>
          <a:p>
            <a:fld id="{5242C4DC-1FF5-472D-AB46-012295A93E1F}" type="slidenum">
              <a:rPr lang="en-US" smtClean="0"/>
              <a:t>‹#›</a:t>
            </a:fld>
            <a:endParaRPr lang="en-US"/>
          </a:p>
        </p:txBody>
      </p:sp>
    </p:spTree>
    <p:extLst>
      <p:ext uri="{BB962C8B-B14F-4D97-AF65-F5344CB8AC3E}">
        <p14:creationId xmlns:p14="http://schemas.microsoft.com/office/powerpoint/2010/main" val="28480234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70419"/>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0495799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9" y="1589"/>
                        <a:ext cx="2116" cy="1587"/>
                      </a:xfrm>
                      <a:prstGeom prst="rect">
                        <a:avLst/>
                      </a:prstGeom>
                    </p:spPr>
                  </p:pic>
                </p:oleObj>
              </mc:Fallback>
            </mc:AlternateContent>
          </a:graphicData>
        </a:graphic>
      </p:graphicFrame>
      <p:grpSp>
        <p:nvGrpSpPr>
          <p:cNvPr id="11" name="Group 10"/>
          <p:cNvGrpSpPr/>
          <p:nvPr/>
        </p:nvGrpSpPr>
        <p:grpSpPr>
          <a:xfrm>
            <a:off x="3468344" y="5844293"/>
            <a:ext cx="5404195" cy="649465"/>
            <a:chOff x="684195" y="4350391"/>
            <a:chExt cx="5404195" cy="649465"/>
          </a:xfrm>
        </p:grpSpPr>
        <p:grpSp>
          <p:nvGrpSpPr>
            <p:cNvPr id="12" name="Group 11"/>
            <p:cNvGrpSpPr/>
            <p:nvPr userDrawn="1"/>
          </p:nvGrpSpPr>
          <p:grpSpPr>
            <a:xfrm>
              <a:off x="2661695" y="4377556"/>
              <a:ext cx="617538" cy="622300"/>
              <a:chOff x="684195" y="1226902"/>
              <a:chExt cx="617538" cy="622300"/>
            </a:xfrm>
          </p:grpSpPr>
          <p:sp>
            <p:nvSpPr>
              <p:cNvPr id="15" name="Freeform 65"/>
              <p:cNvSpPr>
                <a:spLocks/>
              </p:cNvSpPr>
              <p:nvPr userDrawn="1"/>
            </p:nvSpPr>
            <p:spPr bwMode="auto">
              <a:xfrm>
                <a:off x="684195" y="1226902"/>
                <a:ext cx="617538" cy="622300"/>
              </a:xfrm>
              <a:custGeom>
                <a:avLst/>
                <a:gdLst>
                  <a:gd name="T0" fmla="*/ 982 w 982"/>
                  <a:gd name="T1" fmla="*/ 491 h 982"/>
                  <a:gd name="T2" fmla="*/ 982 w 982"/>
                  <a:gd name="T3" fmla="*/ 491 h 982"/>
                  <a:gd name="T4" fmla="*/ 491 w 982"/>
                  <a:gd name="T5" fmla="*/ 982 h 982"/>
                  <a:gd name="T6" fmla="*/ 0 w 982"/>
                  <a:gd name="T7" fmla="*/ 491 h 982"/>
                  <a:gd name="T8" fmla="*/ 491 w 982"/>
                  <a:gd name="T9" fmla="*/ 0 h 982"/>
                  <a:gd name="T10" fmla="*/ 982 w 982"/>
                  <a:gd name="T11" fmla="*/ 491 h 982"/>
                  <a:gd name="T12" fmla="*/ 982 w 982"/>
                  <a:gd name="T13" fmla="*/ 491 h 982"/>
                </a:gdLst>
                <a:ahLst/>
                <a:cxnLst>
                  <a:cxn ang="0">
                    <a:pos x="T0" y="T1"/>
                  </a:cxn>
                  <a:cxn ang="0">
                    <a:pos x="T2" y="T3"/>
                  </a:cxn>
                  <a:cxn ang="0">
                    <a:pos x="T4" y="T5"/>
                  </a:cxn>
                  <a:cxn ang="0">
                    <a:pos x="T6" y="T7"/>
                  </a:cxn>
                  <a:cxn ang="0">
                    <a:pos x="T8" y="T9"/>
                  </a:cxn>
                  <a:cxn ang="0">
                    <a:pos x="T10" y="T11"/>
                  </a:cxn>
                  <a:cxn ang="0">
                    <a:pos x="T12" y="T13"/>
                  </a:cxn>
                </a:cxnLst>
                <a:rect l="0" t="0" r="r" b="b"/>
                <a:pathLst>
                  <a:path w="982" h="982">
                    <a:moveTo>
                      <a:pt x="982" y="491"/>
                    </a:moveTo>
                    <a:lnTo>
                      <a:pt x="982" y="491"/>
                    </a:lnTo>
                    <a:cubicBezTo>
                      <a:pt x="982" y="762"/>
                      <a:pt x="762" y="982"/>
                      <a:pt x="491" y="982"/>
                    </a:cubicBezTo>
                    <a:cubicBezTo>
                      <a:pt x="220" y="982"/>
                      <a:pt x="0" y="762"/>
                      <a:pt x="0" y="491"/>
                    </a:cubicBezTo>
                    <a:cubicBezTo>
                      <a:pt x="0" y="220"/>
                      <a:pt x="220" y="0"/>
                      <a:pt x="491" y="0"/>
                    </a:cubicBezTo>
                    <a:cubicBezTo>
                      <a:pt x="762" y="0"/>
                      <a:pt x="982" y="220"/>
                      <a:pt x="982" y="491"/>
                    </a:cubicBezTo>
                    <a:lnTo>
                      <a:pt x="982" y="491"/>
                    </a:lnTo>
                    <a:close/>
                  </a:path>
                </a:pathLst>
              </a:custGeom>
              <a:solidFill>
                <a:srgbClr val="E70419"/>
              </a:solidFill>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US" sz="1800"/>
              </a:p>
            </p:txBody>
          </p:sp>
          <p:sp>
            <p:nvSpPr>
              <p:cNvPr id="16" name="Freeform 66"/>
              <p:cNvSpPr>
                <a:spLocks/>
              </p:cNvSpPr>
              <p:nvPr userDrawn="1"/>
            </p:nvSpPr>
            <p:spPr bwMode="auto">
              <a:xfrm>
                <a:off x="819493" y="1373745"/>
                <a:ext cx="260350" cy="252413"/>
              </a:xfrm>
              <a:custGeom>
                <a:avLst/>
                <a:gdLst>
                  <a:gd name="T0" fmla="*/ 280 w 414"/>
                  <a:gd name="T1" fmla="*/ 141 h 398"/>
                  <a:gd name="T2" fmla="*/ 280 w 414"/>
                  <a:gd name="T3" fmla="*/ 141 h 398"/>
                  <a:gd name="T4" fmla="*/ 365 w 414"/>
                  <a:gd name="T5" fmla="*/ 226 h 398"/>
                  <a:gd name="T6" fmla="*/ 345 w 414"/>
                  <a:gd name="T7" fmla="*/ 268 h 398"/>
                  <a:gd name="T8" fmla="*/ 310 w 414"/>
                  <a:gd name="T9" fmla="*/ 309 h 398"/>
                  <a:gd name="T10" fmla="*/ 257 w 414"/>
                  <a:gd name="T11" fmla="*/ 345 h 398"/>
                  <a:gd name="T12" fmla="*/ 201 w 414"/>
                  <a:gd name="T13" fmla="*/ 355 h 398"/>
                  <a:gd name="T14" fmla="*/ 144 w 414"/>
                  <a:gd name="T15" fmla="*/ 341 h 398"/>
                  <a:gd name="T16" fmla="*/ 93 w 414"/>
                  <a:gd name="T17" fmla="*/ 305 h 398"/>
                  <a:gd name="T18" fmla="*/ 57 w 414"/>
                  <a:gd name="T19" fmla="*/ 254 h 398"/>
                  <a:gd name="T20" fmla="*/ 43 w 414"/>
                  <a:gd name="T21" fmla="*/ 197 h 398"/>
                  <a:gd name="T22" fmla="*/ 53 w 414"/>
                  <a:gd name="T23" fmla="*/ 141 h 398"/>
                  <a:gd name="T24" fmla="*/ 89 w 414"/>
                  <a:gd name="T25" fmla="*/ 88 h 398"/>
                  <a:gd name="T26" fmla="*/ 112 w 414"/>
                  <a:gd name="T27" fmla="*/ 69 h 398"/>
                  <a:gd name="T28" fmla="*/ 139 w 414"/>
                  <a:gd name="T29" fmla="*/ 55 h 398"/>
                  <a:gd name="T30" fmla="*/ 166 w 414"/>
                  <a:gd name="T31" fmla="*/ 47 h 398"/>
                  <a:gd name="T32" fmla="*/ 193 w 414"/>
                  <a:gd name="T33" fmla="*/ 46 h 398"/>
                  <a:gd name="T34" fmla="*/ 198 w 414"/>
                  <a:gd name="T35" fmla="*/ 46 h 398"/>
                  <a:gd name="T36" fmla="*/ 197 w 414"/>
                  <a:gd name="T37" fmla="*/ 1 h 398"/>
                  <a:gd name="T38" fmla="*/ 192 w 414"/>
                  <a:gd name="T39" fmla="*/ 0 h 398"/>
                  <a:gd name="T40" fmla="*/ 191 w 414"/>
                  <a:gd name="T41" fmla="*/ 0 h 398"/>
                  <a:gd name="T42" fmla="*/ 60 w 414"/>
                  <a:gd name="T43" fmla="*/ 59 h 398"/>
                  <a:gd name="T44" fmla="*/ 15 w 414"/>
                  <a:gd name="T45" fmla="*/ 125 h 398"/>
                  <a:gd name="T46" fmla="*/ 1 w 414"/>
                  <a:gd name="T47" fmla="*/ 198 h 398"/>
                  <a:gd name="T48" fmla="*/ 16 w 414"/>
                  <a:gd name="T49" fmla="*/ 270 h 398"/>
                  <a:gd name="T50" fmla="*/ 62 w 414"/>
                  <a:gd name="T51" fmla="*/ 336 h 398"/>
                  <a:gd name="T52" fmla="*/ 128 w 414"/>
                  <a:gd name="T53" fmla="*/ 382 h 398"/>
                  <a:gd name="T54" fmla="*/ 200 w 414"/>
                  <a:gd name="T55" fmla="*/ 398 h 398"/>
                  <a:gd name="T56" fmla="*/ 203 w 414"/>
                  <a:gd name="T57" fmla="*/ 398 h 398"/>
                  <a:gd name="T58" fmla="*/ 273 w 414"/>
                  <a:gd name="T59" fmla="*/ 383 h 398"/>
                  <a:gd name="T60" fmla="*/ 339 w 414"/>
                  <a:gd name="T61" fmla="*/ 338 h 398"/>
                  <a:gd name="T62" fmla="*/ 384 w 414"/>
                  <a:gd name="T63" fmla="*/ 282 h 398"/>
                  <a:gd name="T64" fmla="*/ 413 w 414"/>
                  <a:gd name="T65" fmla="*/ 216 h 398"/>
                  <a:gd name="T66" fmla="*/ 414 w 414"/>
                  <a:gd name="T67" fmla="*/ 213 h 398"/>
                  <a:gd name="T68" fmla="*/ 289 w 414"/>
                  <a:gd name="T69" fmla="*/ 89 h 398"/>
                  <a:gd name="T70" fmla="*/ 282 w 414"/>
                  <a:gd name="T71" fmla="*/ 9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398">
                    <a:moveTo>
                      <a:pt x="280" y="141"/>
                    </a:moveTo>
                    <a:lnTo>
                      <a:pt x="280" y="141"/>
                    </a:lnTo>
                    <a:lnTo>
                      <a:pt x="365" y="226"/>
                    </a:lnTo>
                    <a:cubicBezTo>
                      <a:pt x="361" y="241"/>
                      <a:pt x="354" y="255"/>
                      <a:pt x="345" y="268"/>
                    </a:cubicBezTo>
                    <a:cubicBezTo>
                      <a:pt x="335" y="282"/>
                      <a:pt x="324" y="296"/>
                      <a:pt x="310" y="309"/>
                    </a:cubicBezTo>
                    <a:cubicBezTo>
                      <a:pt x="294" y="326"/>
                      <a:pt x="276" y="338"/>
                      <a:pt x="257" y="345"/>
                    </a:cubicBezTo>
                    <a:cubicBezTo>
                      <a:pt x="239" y="352"/>
                      <a:pt x="219" y="356"/>
                      <a:pt x="201" y="355"/>
                    </a:cubicBezTo>
                    <a:cubicBezTo>
                      <a:pt x="182" y="354"/>
                      <a:pt x="163" y="350"/>
                      <a:pt x="144" y="341"/>
                    </a:cubicBezTo>
                    <a:cubicBezTo>
                      <a:pt x="126" y="333"/>
                      <a:pt x="109" y="321"/>
                      <a:pt x="93" y="305"/>
                    </a:cubicBezTo>
                    <a:cubicBezTo>
                      <a:pt x="77" y="289"/>
                      <a:pt x="65" y="272"/>
                      <a:pt x="57" y="254"/>
                    </a:cubicBezTo>
                    <a:cubicBezTo>
                      <a:pt x="48" y="235"/>
                      <a:pt x="44" y="216"/>
                      <a:pt x="43" y="197"/>
                    </a:cubicBezTo>
                    <a:cubicBezTo>
                      <a:pt x="42" y="178"/>
                      <a:pt x="46" y="159"/>
                      <a:pt x="53" y="141"/>
                    </a:cubicBezTo>
                    <a:cubicBezTo>
                      <a:pt x="60" y="122"/>
                      <a:pt x="72" y="104"/>
                      <a:pt x="89" y="88"/>
                    </a:cubicBezTo>
                    <a:cubicBezTo>
                      <a:pt x="95" y="81"/>
                      <a:pt x="103" y="75"/>
                      <a:pt x="112" y="69"/>
                    </a:cubicBezTo>
                    <a:cubicBezTo>
                      <a:pt x="120" y="64"/>
                      <a:pt x="129" y="59"/>
                      <a:pt x="139" y="55"/>
                    </a:cubicBezTo>
                    <a:cubicBezTo>
                      <a:pt x="148" y="52"/>
                      <a:pt x="157" y="49"/>
                      <a:pt x="166" y="47"/>
                    </a:cubicBezTo>
                    <a:cubicBezTo>
                      <a:pt x="176" y="46"/>
                      <a:pt x="185" y="45"/>
                      <a:pt x="193" y="46"/>
                    </a:cubicBezTo>
                    <a:lnTo>
                      <a:pt x="198" y="46"/>
                    </a:lnTo>
                    <a:lnTo>
                      <a:pt x="197" y="1"/>
                    </a:lnTo>
                    <a:lnTo>
                      <a:pt x="192" y="0"/>
                    </a:lnTo>
                    <a:lnTo>
                      <a:pt x="191" y="0"/>
                    </a:lnTo>
                    <a:cubicBezTo>
                      <a:pt x="143" y="0"/>
                      <a:pt x="99" y="20"/>
                      <a:pt x="60" y="59"/>
                    </a:cubicBezTo>
                    <a:cubicBezTo>
                      <a:pt x="40" y="79"/>
                      <a:pt x="25" y="102"/>
                      <a:pt x="15" y="125"/>
                    </a:cubicBezTo>
                    <a:cubicBezTo>
                      <a:pt x="5" y="149"/>
                      <a:pt x="0" y="173"/>
                      <a:pt x="1" y="198"/>
                    </a:cubicBezTo>
                    <a:cubicBezTo>
                      <a:pt x="1" y="222"/>
                      <a:pt x="6" y="246"/>
                      <a:pt x="16" y="270"/>
                    </a:cubicBezTo>
                    <a:cubicBezTo>
                      <a:pt x="27" y="294"/>
                      <a:pt x="42" y="316"/>
                      <a:pt x="62" y="336"/>
                    </a:cubicBezTo>
                    <a:cubicBezTo>
                      <a:pt x="82" y="356"/>
                      <a:pt x="104" y="371"/>
                      <a:pt x="128" y="382"/>
                    </a:cubicBezTo>
                    <a:cubicBezTo>
                      <a:pt x="152" y="392"/>
                      <a:pt x="176" y="397"/>
                      <a:pt x="200" y="398"/>
                    </a:cubicBezTo>
                    <a:cubicBezTo>
                      <a:pt x="201" y="398"/>
                      <a:pt x="202" y="398"/>
                      <a:pt x="203" y="398"/>
                    </a:cubicBezTo>
                    <a:cubicBezTo>
                      <a:pt x="227" y="398"/>
                      <a:pt x="250" y="393"/>
                      <a:pt x="273" y="383"/>
                    </a:cubicBezTo>
                    <a:cubicBezTo>
                      <a:pt x="296" y="373"/>
                      <a:pt x="319" y="358"/>
                      <a:pt x="339" y="338"/>
                    </a:cubicBezTo>
                    <a:cubicBezTo>
                      <a:pt x="356" y="321"/>
                      <a:pt x="371" y="302"/>
                      <a:pt x="384" y="282"/>
                    </a:cubicBezTo>
                    <a:cubicBezTo>
                      <a:pt x="396" y="262"/>
                      <a:pt x="406" y="240"/>
                      <a:pt x="413" y="216"/>
                    </a:cubicBezTo>
                    <a:lnTo>
                      <a:pt x="414" y="213"/>
                    </a:lnTo>
                    <a:lnTo>
                      <a:pt x="289" y="89"/>
                    </a:lnTo>
                    <a:lnTo>
                      <a:pt x="282" y="95"/>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 name="Freeform 67"/>
              <p:cNvSpPr>
                <a:spLocks/>
              </p:cNvSpPr>
              <p:nvPr userDrawn="1"/>
            </p:nvSpPr>
            <p:spPr bwMode="auto">
              <a:xfrm>
                <a:off x="918423" y="1392834"/>
                <a:ext cx="260350" cy="252413"/>
              </a:xfrm>
              <a:custGeom>
                <a:avLst/>
                <a:gdLst>
                  <a:gd name="T0" fmla="*/ 134 w 414"/>
                  <a:gd name="T1" fmla="*/ 256 h 397"/>
                  <a:gd name="T2" fmla="*/ 134 w 414"/>
                  <a:gd name="T3" fmla="*/ 256 h 397"/>
                  <a:gd name="T4" fmla="*/ 49 w 414"/>
                  <a:gd name="T5" fmla="*/ 171 h 397"/>
                  <a:gd name="T6" fmla="*/ 69 w 414"/>
                  <a:gd name="T7" fmla="*/ 130 h 397"/>
                  <a:gd name="T8" fmla="*/ 104 w 414"/>
                  <a:gd name="T9" fmla="*/ 88 h 397"/>
                  <a:gd name="T10" fmla="*/ 157 w 414"/>
                  <a:gd name="T11" fmla="*/ 53 h 397"/>
                  <a:gd name="T12" fmla="*/ 213 w 414"/>
                  <a:gd name="T13" fmla="*/ 43 h 397"/>
                  <a:gd name="T14" fmla="*/ 270 w 414"/>
                  <a:gd name="T15" fmla="*/ 56 h 397"/>
                  <a:gd name="T16" fmla="*/ 321 w 414"/>
                  <a:gd name="T17" fmla="*/ 93 h 397"/>
                  <a:gd name="T18" fmla="*/ 357 w 414"/>
                  <a:gd name="T19" fmla="*/ 144 h 397"/>
                  <a:gd name="T20" fmla="*/ 371 w 414"/>
                  <a:gd name="T21" fmla="*/ 200 h 397"/>
                  <a:gd name="T22" fmla="*/ 361 w 414"/>
                  <a:gd name="T23" fmla="*/ 257 h 397"/>
                  <a:gd name="T24" fmla="*/ 325 w 414"/>
                  <a:gd name="T25" fmla="*/ 310 h 397"/>
                  <a:gd name="T26" fmla="*/ 302 w 414"/>
                  <a:gd name="T27" fmla="*/ 328 h 397"/>
                  <a:gd name="T28" fmla="*/ 275 w 414"/>
                  <a:gd name="T29" fmla="*/ 342 h 397"/>
                  <a:gd name="T30" fmla="*/ 248 w 414"/>
                  <a:gd name="T31" fmla="*/ 350 h 397"/>
                  <a:gd name="T32" fmla="*/ 221 w 414"/>
                  <a:gd name="T33" fmla="*/ 352 h 397"/>
                  <a:gd name="T34" fmla="*/ 216 w 414"/>
                  <a:gd name="T35" fmla="*/ 351 h 397"/>
                  <a:gd name="T36" fmla="*/ 217 w 414"/>
                  <a:gd name="T37" fmla="*/ 397 h 397"/>
                  <a:gd name="T38" fmla="*/ 222 w 414"/>
                  <a:gd name="T39" fmla="*/ 397 h 397"/>
                  <a:gd name="T40" fmla="*/ 223 w 414"/>
                  <a:gd name="T41" fmla="*/ 397 h 397"/>
                  <a:gd name="T42" fmla="*/ 354 w 414"/>
                  <a:gd name="T43" fmla="*/ 338 h 397"/>
                  <a:gd name="T44" fmla="*/ 399 w 414"/>
                  <a:gd name="T45" fmla="*/ 272 h 397"/>
                  <a:gd name="T46" fmla="*/ 413 w 414"/>
                  <a:gd name="T47" fmla="*/ 200 h 397"/>
                  <a:gd name="T48" fmla="*/ 398 w 414"/>
                  <a:gd name="T49" fmla="*/ 128 h 397"/>
                  <a:gd name="T50" fmla="*/ 352 w 414"/>
                  <a:gd name="T51" fmla="*/ 62 h 397"/>
                  <a:gd name="T52" fmla="*/ 286 w 414"/>
                  <a:gd name="T53" fmla="*/ 16 h 397"/>
                  <a:gd name="T54" fmla="*/ 214 w 414"/>
                  <a:gd name="T55" fmla="*/ 0 h 397"/>
                  <a:gd name="T56" fmla="*/ 141 w 414"/>
                  <a:gd name="T57" fmla="*/ 14 h 397"/>
                  <a:gd name="T58" fmla="*/ 75 w 414"/>
                  <a:gd name="T59" fmla="*/ 60 h 397"/>
                  <a:gd name="T60" fmla="*/ 30 w 414"/>
                  <a:gd name="T61" fmla="*/ 115 h 397"/>
                  <a:gd name="T62" fmla="*/ 1 w 414"/>
                  <a:gd name="T63" fmla="*/ 182 h 397"/>
                  <a:gd name="T64" fmla="*/ 0 w 414"/>
                  <a:gd name="T65" fmla="*/ 184 h 397"/>
                  <a:gd name="T66" fmla="*/ 125 w 414"/>
                  <a:gd name="T67" fmla="*/ 309 h 397"/>
                  <a:gd name="T68" fmla="*/ 132 w 414"/>
                  <a:gd name="T69" fmla="*/ 302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4" h="397">
                    <a:moveTo>
                      <a:pt x="134" y="256"/>
                    </a:moveTo>
                    <a:lnTo>
                      <a:pt x="134" y="256"/>
                    </a:lnTo>
                    <a:lnTo>
                      <a:pt x="49" y="171"/>
                    </a:lnTo>
                    <a:cubicBezTo>
                      <a:pt x="53" y="157"/>
                      <a:pt x="60" y="143"/>
                      <a:pt x="69" y="130"/>
                    </a:cubicBezTo>
                    <a:cubicBezTo>
                      <a:pt x="79" y="116"/>
                      <a:pt x="90" y="102"/>
                      <a:pt x="104" y="88"/>
                    </a:cubicBezTo>
                    <a:cubicBezTo>
                      <a:pt x="120" y="72"/>
                      <a:pt x="138" y="60"/>
                      <a:pt x="157" y="53"/>
                    </a:cubicBezTo>
                    <a:cubicBezTo>
                      <a:pt x="175" y="45"/>
                      <a:pt x="195" y="42"/>
                      <a:pt x="213" y="43"/>
                    </a:cubicBezTo>
                    <a:cubicBezTo>
                      <a:pt x="232" y="43"/>
                      <a:pt x="251" y="48"/>
                      <a:pt x="270" y="56"/>
                    </a:cubicBezTo>
                    <a:cubicBezTo>
                      <a:pt x="288" y="65"/>
                      <a:pt x="305" y="77"/>
                      <a:pt x="321" y="93"/>
                    </a:cubicBezTo>
                    <a:cubicBezTo>
                      <a:pt x="337" y="108"/>
                      <a:pt x="349" y="126"/>
                      <a:pt x="357" y="144"/>
                    </a:cubicBezTo>
                    <a:cubicBezTo>
                      <a:pt x="366" y="162"/>
                      <a:pt x="370" y="181"/>
                      <a:pt x="371" y="200"/>
                    </a:cubicBezTo>
                    <a:cubicBezTo>
                      <a:pt x="372" y="219"/>
                      <a:pt x="368" y="238"/>
                      <a:pt x="361" y="257"/>
                    </a:cubicBezTo>
                    <a:cubicBezTo>
                      <a:pt x="354" y="276"/>
                      <a:pt x="342" y="293"/>
                      <a:pt x="325" y="310"/>
                    </a:cubicBezTo>
                    <a:cubicBezTo>
                      <a:pt x="319" y="317"/>
                      <a:pt x="311" y="323"/>
                      <a:pt x="302" y="328"/>
                    </a:cubicBezTo>
                    <a:cubicBezTo>
                      <a:pt x="294" y="334"/>
                      <a:pt x="285" y="338"/>
                      <a:pt x="275" y="342"/>
                    </a:cubicBezTo>
                    <a:cubicBezTo>
                      <a:pt x="266" y="346"/>
                      <a:pt x="257" y="349"/>
                      <a:pt x="248" y="350"/>
                    </a:cubicBezTo>
                    <a:cubicBezTo>
                      <a:pt x="238" y="352"/>
                      <a:pt x="229" y="352"/>
                      <a:pt x="221" y="352"/>
                    </a:cubicBezTo>
                    <a:lnTo>
                      <a:pt x="216" y="351"/>
                    </a:lnTo>
                    <a:lnTo>
                      <a:pt x="217" y="397"/>
                    </a:lnTo>
                    <a:lnTo>
                      <a:pt x="222" y="397"/>
                    </a:lnTo>
                    <a:lnTo>
                      <a:pt x="223" y="397"/>
                    </a:lnTo>
                    <a:cubicBezTo>
                      <a:pt x="271" y="397"/>
                      <a:pt x="315" y="377"/>
                      <a:pt x="354" y="338"/>
                    </a:cubicBezTo>
                    <a:cubicBezTo>
                      <a:pt x="374" y="318"/>
                      <a:pt x="389" y="296"/>
                      <a:pt x="399" y="272"/>
                    </a:cubicBezTo>
                    <a:cubicBezTo>
                      <a:pt x="409" y="248"/>
                      <a:pt x="414" y="224"/>
                      <a:pt x="413" y="200"/>
                    </a:cubicBezTo>
                    <a:cubicBezTo>
                      <a:pt x="413" y="176"/>
                      <a:pt x="408" y="151"/>
                      <a:pt x="398" y="128"/>
                    </a:cubicBezTo>
                    <a:cubicBezTo>
                      <a:pt x="387" y="104"/>
                      <a:pt x="372" y="82"/>
                      <a:pt x="352" y="62"/>
                    </a:cubicBezTo>
                    <a:cubicBezTo>
                      <a:pt x="332" y="42"/>
                      <a:pt x="310" y="26"/>
                      <a:pt x="286" y="16"/>
                    </a:cubicBezTo>
                    <a:cubicBezTo>
                      <a:pt x="262" y="6"/>
                      <a:pt x="238" y="0"/>
                      <a:pt x="214" y="0"/>
                    </a:cubicBezTo>
                    <a:cubicBezTo>
                      <a:pt x="189" y="0"/>
                      <a:pt x="165" y="4"/>
                      <a:pt x="141" y="14"/>
                    </a:cubicBezTo>
                    <a:cubicBezTo>
                      <a:pt x="118" y="24"/>
                      <a:pt x="95" y="40"/>
                      <a:pt x="75" y="60"/>
                    </a:cubicBezTo>
                    <a:cubicBezTo>
                      <a:pt x="58" y="77"/>
                      <a:pt x="43" y="95"/>
                      <a:pt x="30" y="115"/>
                    </a:cubicBezTo>
                    <a:cubicBezTo>
                      <a:pt x="18" y="135"/>
                      <a:pt x="8" y="158"/>
                      <a:pt x="1" y="182"/>
                    </a:cubicBezTo>
                    <a:lnTo>
                      <a:pt x="0" y="184"/>
                    </a:lnTo>
                    <a:lnTo>
                      <a:pt x="125" y="309"/>
                    </a:lnTo>
                    <a:lnTo>
                      <a:pt x="132" y="302"/>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grpSp>
        <p:pic>
          <p:nvPicPr>
            <p:cNvPr id="13" name="Picture 12"/>
            <p:cNvPicPr>
              <a:picLocks noChangeAspect="1"/>
            </p:cNvPicPr>
            <p:nvPr userDrawn="1"/>
          </p:nvPicPr>
          <p:blipFill rotWithShape="1">
            <a:blip r:embed="rId6" cstate="email">
              <a:extLst>
                <a:ext uri="{28A0092B-C50C-407E-A947-70E740481C1C}">
                  <a14:useLocalDpi xmlns:a14="http://schemas.microsoft.com/office/drawing/2010/main"/>
                </a:ext>
              </a:extLst>
            </a:blip>
            <a:srcRect r="65540"/>
            <a:stretch/>
          </p:blipFill>
          <p:spPr bwMode="auto">
            <a:xfrm>
              <a:off x="684195" y="4350391"/>
              <a:ext cx="1913231" cy="64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userDrawn="1"/>
          </p:nvPicPr>
          <p:blipFill rotWithShape="1">
            <a:blip r:embed="rId6" cstate="email">
              <a:extLst>
                <a:ext uri="{28A0092B-C50C-407E-A947-70E740481C1C}">
                  <a14:useLocalDpi xmlns:a14="http://schemas.microsoft.com/office/drawing/2010/main"/>
                </a:ext>
              </a:extLst>
            </a:blip>
            <a:srcRect l="49403"/>
            <a:stretch/>
          </p:blipFill>
          <p:spPr bwMode="auto">
            <a:xfrm>
              <a:off x="3279233" y="4350391"/>
              <a:ext cx="2809157" cy="64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tangle 2"/>
          <p:cNvSpPr/>
          <p:nvPr/>
        </p:nvSpPr>
        <p:spPr>
          <a:xfrm>
            <a:off x="0" y="0"/>
            <a:ext cx="12192000" cy="1460781"/>
          </a:xfrm>
          <a:prstGeom prst="rect">
            <a:avLst/>
          </a:prstGeom>
          <a:solidFill>
            <a:srgbClr val="E70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Rectangle 17"/>
          <p:cNvSpPr/>
          <p:nvPr/>
        </p:nvSpPr>
        <p:spPr>
          <a:xfrm>
            <a:off x="10848528" y="5934720"/>
            <a:ext cx="1343472" cy="923280"/>
          </a:xfrm>
          <a:prstGeom prst="rect">
            <a:avLst/>
          </a:prstGeom>
          <a:solidFill>
            <a:srgbClr val="E70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35518771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4"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9" name="Picture 8" descr="MS&amp;I_PPT Template_image2.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680" y="0"/>
            <a:ext cx="12216680" cy="6869846"/>
          </a:xfrm>
          <a:prstGeom prst="rect">
            <a:avLst/>
          </a:prstGeom>
        </p:spPr>
      </p:pic>
      <p:sp>
        <p:nvSpPr>
          <p:cNvPr id="10" name="Text Placeholder 9"/>
          <p:cNvSpPr>
            <a:spLocks noGrp="1"/>
          </p:cNvSpPr>
          <p:nvPr>
            <p:ph type="body" sz="quarter" idx="10" hasCustomPrompt="1"/>
          </p:nvPr>
        </p:nvSpPr>
        <p:spPr>
          <a:xfrm>
            <a:off x="587388" y="2636912"/>
            <a:ext cx="10549172" cy="792162"/>
          </a:xfrm>
          <a:prstGeom prst="rect">
            <a:avLst/>
          </a:prstGeom>
        </p:spPr>
        <p:txBody>
          <a:bodyPr anchor="ctr"/>
          <a:lstStyle>
            <a:lvl1pPr marL="0" indent="0">
              <a:buNone/>
              <a:defRPr sz="3200" b="1">
                <a:solidFill>
                  <a:schemeClr val="bg1"/>
                </a:solidFill>
                <a:latin typeface="+mj-lt"/>
                <a:ea typeface="Segoe UI" panose="020B0502040204020203" pitchFamily="34" charset="0"/>
                <a:cs typeface="Segoe UI" panose="020B0502040204020203" pitchFamily="34" charset="0"/>
              </a:defRPr>
            </a:lvl1pPr>
          </a:lstStyle>
          <a:p>
            <a:pPr lvl="0"/>
            <a:r>
              <a:rPr lang="en-US" dirty="0"/>
              <a:t>Presentation Title</a:t>
            </a:r>
            <a:endParaRPr lang="en-GB" dirty="0"/>
          </a:p>
        </p:txBody>
      </p:sp>
      <p:sp>
        <p:nvSpPr>
          <p:cNvPr id="11" name="Text Placeholder 9"/>
          <p:cNvSpPr>
            <a:spLocks noGrp="1"/>
          </p:cNvSpPr>
          <p:nvPr>
            <p:ph type="body" sz="quarter" idx="11" hasCustomPrompt="1"/>
          </p:nvPr>
        </p:nvSpPr>
        <p:spPr>
          <a:xfrm>
            <a:off x="587325" y="4113076"/>
            <a:ext cx="10549172" cy="468052"/>
          </a:xfrm>
          <a:prstGeom prst="rect">
            <a:avLst/>
          </a:prstGeom>
        </p:spPr>
        <p:txBody>
          <a:bodyPr anchor="ctr"/>
          <a:lstStyle>
            <a:lvl1pPr marL="0" indent="0">
              <a:buNone/>
              <a:defRPr sz="2000" b="0">
                <a:solidFill>
                  <a:schemeClr val="bg1"/>
                </a:solidFill>
                <a:latin typeface="+mj-lt"/>
                <a:ea typeface="Segoe UI" panose="020B0502040204020203" pitchFamily="34" charset="0"/>
                <a:cs typeface="Segoe UI" panose="020B0502040204020203" pitchFamily="34" charset="0"/>
              </a:defRPr>
            </a:lvl1pPr>
          </a:lstStyle>
          <a:p>
            <a:pPr lvl="0"/>
            <a:r>
              <a:rPr lang="en-US" dirty="0"/>
              <a:t>Date</a:t>
            </a:r>
            <a:endParaRPr lang="en-GB" dirty="0"/>
          </a:p>
        </p:txBody>
      </p:sp>
      <p:sp>
        <p:nvSpPr>
          <p:cNvPr id="12" name="Text Placeholder 9"/>
          <p:cNvSpPr>
            <a:spLocks noGrp="1"/>
          </p:cNvSpPr>
          <p:nvPr>
            <p:ph type="body" sz="quarter" idx="12" hasCustomPrompt="1"/>
          </p:nvPr>
        </p:nvSpPr>
        <p:spPr>
          <a:xfrm>
            <a:off x="587388" y="4761148"/>
            <a:ext cx="10549172" cy="468052"/>
          </a:xfrm>
          <a:prstGeom prst="rect">
            <a:avLst/>
          </a:prstGeom>
        </p:spPr>
        <p:txBody>
          <a:bodyPr anchor="ctr"/>
          <a:lstStyle>
            <a:lvl1pPr marL="0" indent="0">
              <a:buNone/>
              <a:defRPr sz="2000" b="0">
                <a:solidFill>
                  <a:schemeClr val="bg1"/>
                </a:solidFill>
                <a:latin typeface="+mj-lt"/>
                <a:ea typeface="Segoe UI" panose="020B0502040204020203" pitchFamily="34" charset="0"/>
                <a:cs typeface="Segoe UI" panose="020B0502040204020203" pitchFamily="34" charset="0"/>
              </a:defRPr>
            </a:lvl1pPr>
          </a:lstStyle>
          <a:p>
            <a:pPr lvl="0"/>
            <a:r>
              <a:rPr lang="en-US" dirty="0"/>
              <a:t>Location</a:t>
            </a:r>
            <a:endParaRPr lang="en-GB" dirty="0"/>
          </a:p>
        </p:txBody>
      </p:sp>
      <p:pic>
        <p:nvPicPr>
          <p:cNvPr id="13" name="Picture 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51384" y="6129300"/>
            <a:ext cx="5290205" cy="612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 name="Object 13" hidden="1"/>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5" name="think-cell Slide" r:id="rId9" imgW="270" imgH="270" progId="TCLayout.ActiveDocument.1">
                  <p:embed/>
                </p:oleObj>
              </mc:Choice>
              <mc:Fallback>
                <p:oleObj name="think-cell Slide" r:id="rId9" imgW="270" imgH="270" progId="TCLayout.ActiveDocument.1">
                  <p:embed/>
                  <p:pic>
                    <p:nvPicPr>
                      <p:cNvPr id="14" name="Object 13" hidden="1"/>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15" name="Picture 14" descr="MS&amp;I_PPT Template_image2.jp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4680" y="0"/>
            <a:ext cx="12216680" cy="6869846"/>
          </a:xfrm>
          <a:prstGeom prst="rect">
            <a:avLst/>
          </a:prstGeom>
        </p:spPr>
      </p:pic>
      <p:pic>
        <p:nvPicPr>
          <p:cNvPr id="16" name="Picture 2"/>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51384" y="6129300"/>
            <a:ext cx="5290205" cy="612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5969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5D480-068C-4057-9276-A6FE9782F784}"/>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7A554296-38CF-413C-994C-882AC1446A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5EF7DA0-D9FC-478D-B137-0BCB100D0949}"/>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5" name="Footer Placeholder 4">
            <a:extLst>
              <a:ext uri="{FF2B5EF4-FFF2-40B4-BE49-F238E27FC236}">
                <a16:creationId xmlns:a16="http://schemas.microsoft.com/office/drawing/2014/main" id="{9CBE3229-76F5-41C1-9930-FDB8DB44437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AFCA26D-1331-4C87-BEEC-1274CD6C6ED9}"/>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2058754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03780135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9" name="Titre 1"/>
          <p:cNvSpPr>
            <a:spLocks noGrp="1"/>
          </p:cNvSpPr>
          <p:nvPr>
            <p:ph type="title"/>
          </p:nvPr>
        </p:nvSpPr>
        <p:spPr>
          <a:xfrm>
            <a:off x="239349" y="251532"/>
            <a:ext cx="10952480" cy="381000"/>
          </a:xfrm>
          <a:prstGeom prst="rect">
            <a:avLst/>
          </a:prstGeom>
        </p:spPr>
        <p:txBody>
          <a:bodyPr anchor="ctr">
            <a:normAutofit/>
          </a:bodyPr>
          <a:lstStyle>
            <a:lvl1pPr algn="l">
              <a:defRPr sz="3200" b="1">
                <a:solidFill>
                  <a:srgbClr val="FF0000"/>
                </a:solidFill>
                <a:latin typeface="Arial" panose="020B0604020202020204" pitchFamily="34" charset="0"/>
                <a:cs typeface="Arial" panose="020B0604020202020204" pitchFamily="34" charset="0"/>
              </a:defRPr>
            </a:lvl1pPr>
          </a:lstStyle>
          <a:p>
            <a:r>
              <a:rPr lang="en-US"/>
              <a:t>Click to edit Master title style</a:t>
            </a:r>
            <a:endParaRPr lang="fr-FR" dirty="0"/>
          </a:p>
        </p:txBody>
      </p:sp>
      <p:sp>
        <p:nvSpPr>
          <p:cNvPr id="3" name="Content Placeholder 2"/>
          <p:cNvSpPr>
            <a:spLocks noGrp="1"/>
          </p:cNvSpPr>
          <p:nvPr>
            <p:ph sz="quarter" idx="10"/>
          </p:nvPr>
        </p:nvSpPr>
        <p:spPr>
          <a:xfrm>
            <a:off x="1439483" y="1123951"/>
            <a:ext cx="10273141" cy="4897967"/>
          </a:xfrm>
          <a:prstGeom prst="rect">
            <a:avLst/>
          </a:prstGeom>
        </p:spPr>
        <p:txBody>
          <a:bodyPr/>
          <a:lstStyle>
            <a:lvl1pPr>
              <a:defRPr sz="2667">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133">
                <a:latin typeface="Arial" panose="020B0604020202020204" pitchFamily="34" charset="0"/>
                <a:cs typeface="Arial" panose="020B0604020202020204" pitchFamily="34" charset="0"/>
              </a:defRPr>
            </a:lvl3pPr>
            <a:lvl4pPr>
              <a:defRPr sz="1867">
                <a:latin typeface="Arial" panose="020B0604020202020204" pitchFamily="34" charset="0"/>
                <a:cs typeface="Arial" panose="020B0604020202020204" pitchFamily="34" charset="0"/>
              </a:defRPr>
            </a:lvl4pPr>
            <a:lvl5pP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1"/>
          </p:nvPr>
        </p:nvSpPr>
        <p:spPr/>
        <p:txBody>
          <a:bodyPr/>
          <a:lstStyle/>
          <a:p>
            <a:r>
              <a:rPr lang="en-US" dirty="0"/>
              <a:t>Classified: Confidential</a:t>
            </a:r>
          </a:p>
        </p:txBody>
      </p:sp>
      <p:sp>
        <p:nvSpPr>
          <p:cNvPr id="4" name="Slide Number Placeholder 3"/>
          <p:cNvSpPr>
            <a:spLocks noGrp="1"/>
          </p:cNvSpPr>
          <p:nvPr>
            <p:ph type="sldNum" sz="quarter" idx="12"/>
          </p:nvPr>
        </p:nvSpPr>
        <p:spPr/>
        <p:txBody>
          <a:bodyPr/>
          <a:lstStyle/>
          <a:p>
            <a:fld id="{219C6FC3-EF62-4CEB-86C0-9CDD58721446}" type="slidenum">
              <a:rPr lang="en-US" smtClean="0"/>
              <a:t>‹#›</a:t>
            </a:fld>
            <a:endParaRPr lang="en-US"/>
          </a:p>
        </p:txBody>
      </p:sp>
      <p:grpSp>
        <p:nvGrpSpPr>
          <p:cNvPr id="12" name="Group 11"/>
          <p:cNvGrpSpPr/>
          <p:nvPr/>
        </p:nvGrpSpPr>
        <p:grpSpPr>
          <a:xfrm>
            <a:off x="11472861" y="116450"/>
            <a:ext cx="617539" cy="622300"/>
            <a:chOff x="4108846" y="1997013"/>
            <a:chExt cx="463154" cy="466725"/>
          </a:xfrm>
        </p:grpSpPr>
        <p:sp>
          <p:nvSpPr>
            <p:cNvPr id="13" name="Freeform 65"/>
            <p:cNvSpPr>
              <a:spLocks/>
            </p:cNvSpPr>
            <p:nvPr userDrawn="1"/>
          </p:nvSpPr>
          <p:spPr bwMode="auto">
            <a:xfrm>
              <a:off x="4108846" y="1997013"/>
              <a:ext cx="463154" cy="466725"/>
            </a:xfrm>
            <a:custGeom>
              <a:avLst/>
              <a:gdLst>
                <a:gd name="T0" fmla="*/ 982 w 982"/>
                <a:gd name="T1" fmla="*/ 491 h 982"/>
                <a:gd name="T2" fmla="*/ 982 w 982"/>
                <a:gd name="T3" fmla="*/ 491 h 982"/>
                <a:gd name="T4" fmla="*/ 491 w 982"/>
                <a:gd name="T5" fmla="*/ 982 h 982"/>
                <a:gd name="T6" fmla="*/ 0 w 982"/>
                <a:gd name="T7" fmla="*/ 491 h 982"/>
                <a:gd name="T8" fmla="*/ 491 w 982"/>
                <a:gd name="T9" fmla="*/ 0 h 982"/>
                <a:gd name="T10" fmla="*/ 982 w 982"/>
                <a:gd name="T11" fmla="*/ 491 h 982"/>
                <a:gd name="T12" fmla="*/ 982 w 982"/>
                <a:gd name="T13" fmla="*/ 491 h 982"/>
              </a:gdLst>
              <a:ahLst/>
              <a:cxnLst>
                <a:cxn ang="0">
                  <a:pos x="T0" y="T1"/>
                </a:cxn>
                <a:cxn ang="0">
                  <a:pos x="T2" y="T3"/>
                </a:cxn>
                <a:cxn ang="0">
                  <a:pos x="T4" y="T5"/>
                </a:cxn>
                <a:cxn ang="0">
                  <a:pos x="T6" y="T7"/>
                </a:cxn>
                <a:cxn ang="0">
                  <a:pos x="T8" y="T9"/>
                </a:cxn>
                <a:cxn ang="0">
                  <a:pos x="T10" y="T11"/>
                </a:cxn>
                <a:cxn ang="0">
                  <a:pos x="T12" y="T13"/>
                </a:cxn>
              </a:cxnLst>
              <a:rect l="0" t="0" r="r" b="b"/>
              <a:pathLst>
                <a:path w="982" h="982">
                  <a:moveTo>
                    <a:pt x="982" y="491"/>
                  </a:moveTo>
                  <a:lnTo>
                    <a:pt x="982" y="491"/>
                  </a:lnTo>
                  <a:cubicBezTo>
                    <a:pt x="982" y="762"/>
                    <a:pt x="762" y="982"/>
                    <a:pt x="491" y="982"/>
                  </a:cubicBezTo>
                  <a:cubicBezTo>
                    <a:pt x="220" y="982"/>
                    <a:pt x="0" y="762"/>
                    <a:pt x="0" y="491"/>
                  </a:cubicBezTo>
                  <a:cubicBezTo>
                    <a:pt x="0" y="220"/>
                    <a:pt x="220" y="0"/>
                    <a:pt x="491" y="0"/>
                  </a:cubicBezTo>
                  <a:cubicBezTo>
                    <a:pt x="762" y="0"/>
                    <a:pt x="982" y="220"/>
                    <a:pt x="982" y="491"/>
                  </a:cubicBezTo>
                  <a:lnTo>
                    <a:pt x="982" y="491"/>
                  </a:lnTo>
                  <a:close/>
                </a:path>
              </a:pathLst>
            </a:custGeom>
            <a:solidFill>
              <a:srgbClr val="E70419"/>
            </a:solidFill>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US" sz="1800"/>
            </a:p>
          </p:txBody>
        </p:sp>
        <p:sp>
          <p:nvSpPr>
            <p:cNvPr id="14" name="Freeform 66"/>
            <p:cNvSpPr>
              <a:spLocks/>
            </p:cNvSpPr>
            <p:nvPr userDrawn="1"/>
          </p:nvSpPr>
          <p:spPr bwMode="auto">
            <a:xfrm>
              <a:off x="4211201" y="2137704"/>
              <a:ext cx="195263" cy="189310"/>
            </a:xfrm>
            <a:custGeom>
              <a:avLst/>
              <a:gdLst>
                <a:gd name="T0" fmla="*/ 280 w 414"/>
                <a:gd name="T1" fmla="*/ 141 h 398"/>
                <a:gd name="T2" fmla="*/ 280 w 414"/>
                <a:gd name="T3" fmla="*/ 141 h 398"/>
                <a:gd name="T4" fmla="*/ 365 w 414"/>
                <a:gd name="T5" fmla="*/ 226 h 398"/>
                <a:gd name="T6" fmla="*/ 345 w 414"/>
                <a:gd name="T7" fmla="*/ 268 h 398"/>
                <a:gd name="T8" fmla="*/ 310 w 414"/>
                <a:gd name="T9" fmla="*/ 309 h 398"/>
                <a:gd name="T10" fmla="*/ 257 w 414"/>
                <a:gd name="T11" fmla="*/ 345 h 398"/>
                <a:gd name="T12" fmla="*/ 201 w 414"/>
                <a:gd name="T13" fmla="*/ 355 h 398"/>
                <a:gd name="T14" fmla="*/ 144 w 414"/>
                <a:gd name="T15" fmla="*/ 341 h 398"/>
                <a:gd name="T16" fmla="*/ 93 w 414"/>
                <a:gd name="T17" fmla="*/ 305 h 398"/>
                <a:gd name="T18" fmla="*/ 57 w 414"/>
                <a:gd name="T19" fmla="*/ 254 h 398"/>
                <a:gd name="T20" fmla="*/ 43 w 414"/>
                <a:gd name="T21" fmla="*/ 197 h 398"/>
                <a:gd name="T22" fmla="*/ 53 w 414"/>
                <a:gd name="T23" fmla="*/ 141 h 398"/>
                <a:gd name="T24" fmla="*/ 89 w 414"/>
                <a:gd name="T25" fmla="*/ 88 h 398"/>
                <a:gd name="T26" fmla="*/ 112 w 414"/>
                <a:gd name="T27" fmla="*/ 69 h 398"/>
                <a:gd name="T28" fmla="*/ 139 w 414"/>
                <a:gd name="T29" fmla="*/ 55 h 398"/>
                <a:gd name="T30" fmla="*/ 166 w 414"/>
                <a:gd name="T31" fmla="*/ 47 h 398"/>
                <a:gd name="T32" fmla="*/ 193 w 414"/>
                <a:gd name="T33" fmla="*/ 46 h 398"/>
                <a:gd name="T34" fmla="*/ 198 w 414"/>
                <a:gd name="T35" fmla="*/ 46 h 398"/>
                <a:gd name="T36" fmla="*/ 197 w 414"/>
                <a:gd name="T37" fmla="*/ 1 h 398"/>
                <a:gd name="T38" fmla="*/ 192 w 414"/>
                <a:gd name="T39" fmla="*/ 0 h 398"/>
                <a:gd name="T40" fmla="*/ 191 w 414"/>
                <a:gd name="T41" fmla="*/ 0 h 398"/>
                <a:gd name="T42" fmla="*/ 60 w 414"/>
                <a:gd name="T43" fmla="*/ 59 h 398"/>
                <a:gd name="T44" fmla="*/ 15 w 414"/>
                <a:gd name="T45" fmla="*/ 125 h 398"/>
                <a:gd name="T46" fmla="*/ 1 w 414"/>
                <a:gd name="T47" fmla="*/ 198 h 398"/>
                <a:gd name="T48" fmla="*/ 16 w 414"/>
                <a:gd name="T49" fmla="*/ 270 h 398"/>
                <a:gd name="T50" fmla="*/ 62 w 414"/>
                <a:gd name="T51" fmla="*/ 336 h 398"/>
                <a:gd name="T52" fmla="*/ 128 w 414"/>
                <a:gd name="T53" fmla="*/ 382 h 398"/>
                <a:gd name="T54" fmla="*/ 200 w 414"/>
                <a:gd name="T55" fmla="*/ 398 h 398"/>
                <a:gd name="T56" fmla="*/ 203 w 414"/>
                <a:gd name="T57" fmla="*/ 398 h 398"/>
                <a:gd name="T58" fmla="*/ 273 w 414"/>
                <a:gd name="T59" fmla="*/ 383 h 398"/>
                <a:gd name="T60" fmla="*/ 339 w 414"/>
                <a:gd name="T61" fmla="*/ 338 h 398"/>
                <a:gd name="T62" fmla="*/ 384 w 414"/>
                <a:gd name="T63" fmla="*/ 282 h 398"/>
                <a:gd name="T64" fmla="*/ 413 w 414"/>
                <a:gd name="T65" fmla="*/ 216 h 398"/>
                <a:gd name="T66" fmla="*/ 414 w 414"/>
                <a:gd name="T67" fmla="*/ 213 h 398"/>
                <a:gd name="T68" fmla="*/ 289 w 414"/>
                <a:gd name="T69" fmla="*/ 89 h 398"/>
                <a:gd name="T70" fmla="*/ 282 w 414"/>
                <a:gd name="T71" fmla="*/ 9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398">
                  <a:moveTo>
                    <a:pt x="280" y="141"/>
                  </a:moveTo>
                  <a:lnTo>
                    <a:pt x="280" y="141"/>
                  </a:lnTo>
                  <a:lnTo>
                    <a:pt x="365" y="226"/>
                  </a:lnTo>
                  <a:cubicBezTo>
                    <a:pt x="361" y="241"/>
                    <a:pt x="354" y="255"/>
                    <a:pt x="345" y="268"/>
                  </a:cubicBezTo>
                  <a:cubicBezTo>
                    <a:pt x="335" y="282"/>
                    <a:pt x="324" y="296"/>
                    <a:pt x="310" y="309"/>
                  </a:cubicBezTo>
                  <a:cubicBezTo>
                    <a:pt x="294" y="326"/>
                    <a:pt x="276" y="338"/>
                    <a:pt x="257" y="345"/>
                  </a:cubicBezTo>
                  <a:cubicBezTo>
                    <a:pt x="239" y="352"/>
                    <a:pt x="219" y="356"/>
                    <a:pt x="201" y="355"/>
                  </a:cubicBezTo>
                  <a:cubicBezTo>
                    <a:pt x="182" y="354"/>
                    <a:pt x="163" y="350"/>
                    <a:pt x="144" y="341"/>
                  </a:cubicBezTo>
                  <a:cubicBezTo>
                    <a:pt x="126" y="333"/>
                    <a:pt x="109" y="321"/>
                    <a:pt x="93" y="305"/>
                  </a:cubicBezTo>
                  <a:cubicBezTo>
                    <a:pt x="77" y="289"/>
                    <a:pt x="65" y="272"/>
                    <a:pt x="57" y="254"/>
                  </a:cubicBezTo>
                  <a:cubicBezTo>
                    <a:pt x="48" y="235"/>
                    <a:pt x="44" y="216"/>
                    <a:pt x="43" y="197"/>
                  </a:cubicBezTo>
                  <a:cubicBezTo>
                    <a:pt x="42" y="178"/>
                    <a:pt x="46" y="159"/>
                    <a:pt x="53" y="141"/>
                  </a:cubicBezTo>
                  <a:cubicBezTo>
                    <a:pt x="60" y="122"/>
                    <a:pt x="72" y="104"/>
                    <a:pt x="89" y="88"/>
                  </a:cubicBezTo>
                  <a:cubicBezTo>
                    <a:pt x="95" y="81"/>
                    <a:pt x="103" y="75"/>
                    <a:pt x="112" y="69"/>
                  </a:cubicBezTo>
                  <a:cubicBezTo>
                    <a:pt x="120" y="64"/>
                    <a:pt x="129" y="59"/>
                    <a:pt x="139" y="55"/>
                  </a:cubicBezTo>
                  <a:cubicBezTo>
                    <a:pt x="148" y="52"/>
                    <a:pt x="157" y="49"/>
                    <a:pt x="166" y="47"/>
                  </a:cubicBezTo>
                  <a:cubicBezTo>
                    <a:pt x="176" y="46"/>
                    <a:pt x="185" y="45"/>
                    <a:pt x="193" y="46"/>
                  </a:cubicBezTo>
                  <a:lnTo>
                    <a:pt x="198" y="46"/>
                  </a:lnTo>
                  <a:lnTo>
                    <a:pt x="197" y="1"/>
                  </a:lnTo>
                  <a:lnTo>
                    <a:pt x="192" y="0"/>
                  </a:lnTo>
                  <a:lnTo>
                    <a:pt x="191" y="0"/>
                  </a:lnTo>
                  <a:cubicBezTo>
                    <a:pt x="143" y="0"/>
                    <a:pt x="99" y="20"/>
                    <a:pt x="60" y="59"/>
                  </a:cubicBezTo>
                  <a:cubicBezTo>
                    <a:pt x="40" y="79"/>
                    <a:pt x="25" y="102"/>
                    <a:pt x="15" y="125"/>
                  </a:cubicBezTo>
                  <a:cubicBezTo>
                    <a:pt x="5" y="149"/>
                    <a:pt x="0" y="173"/>
                    <a:pt x="1" y="198"/>
                  </a:cubicBezTo>
                  <a:cubicBezTo>
                    <a:pt x="1" y="222"/>
                    <a:pt x="6" y="246"/>
                    <a:pt x="16" y="270"/>
                  </a:cubicBezTo>
                  <a:cubicBezTo>
                    <a:pt x="27" y="294"/>
                    <a:pt x="42" y="316"/>
                    <a:pt x="62" y="336"/>
                  </a:cubicBezTo>
                  <a:cubicBezTo>
                    <a:pt x="82" y="356"/>
                    <a:pt x="104" y="371"/>
                    <a:pt x="128" y="382"/>
                  </a:cubicBezTo>
                  <a:cubicBezTo>
                    <a:pt x="152" y="392"/>
                    <a:pt x="176" y="397"/>
                    <a:pt x="200" y="398"/>
                  </a:cubicBezTo>
                  <a:cubicBezTo>
                    <a:pt x="201" y="398"/>
                    <a:pt x="202" y="398"/>
                    <a:pt x="203" y="398"/>
                  </a:cubicBezTo>
                  <a:cubicBezTo>
                    <a:pt x="227" y="398"/>
                    <a:pt x="250" y="393"/>
                    <a:pt x="273" y="383"/>
                  </a:cubicBezTo>
                  <a:cubicBezTo>
                    <a:pt x="296" y="373"/>
                    <a:pt x="319" y="358"/>
                    <a:pt x="339" y="338"/>
                  </a:cubicBezTo>
                  <a:cubicBezTo>
                    <a:pt x="356" y="321"/>
                    <a:pt x="371" y="302"/>
                    <a:pt x="384" y="282"/>
                  </a:cubicBezTo>
                  <a:cubicBezTo>
                    <a:pt x="396" y="262"/>
                    <a:pt x="406" y="240"/>
                    <a:pt x="413" y="216"/>
                  </a:cubicBezTo>
                  <a:lnTo>
                    <a:pt x="414" y="213"/>
                  </a:lnTo>
                  <a:lnTo>
                    <a:pt x="289" y="89"/>
                  </a:lnTo>
                  <a:lnTo>
                    <a:pt x="282" y="95"/>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 name="Freeform 67"/>
            <p:cNvSpPr>
              <a:spLocks/>
            </p:cNvSpPr>
            <p:nvPr userDrawn="1"/>
          </p:nvSpPr>
          <p:spPr bwMode="auto">
            <a:xfrm>
              <a:off x="4289550" y="2135720"/>
              <a:ext cx="195263" cy="189310"/>
            </a:xfrm>
            <a:custGeom>
              <a:avLst/>
              <a:gdLst>
                <a:gd name="T0" fmla="*/ 134 w 414"/>
                <a:gd name="T1" fmla="*/ 256 h 397"/>
                <a:gd name="T2" fmla="*/ 134 w 414"/>
                <a:gd name="T3" fmla="*/ 256 h 397"/>
                <a:gd name="T4" fmla="*/ 49 w 414"/>
                <a:gd name="T5" fmla="*/ 171 h 397"/>
                <a:gd name="T6" fmla="*/ 69 w 414"/>
                <a:gd name="T7" fmla="*/ 130 h 397"/>
                <a:gd name="T8" fmla="*/ 104 w 414"/>
                <a:gd name="T9" fmla="*/ 88 h 397"/>
                <a:gd name="T10" fmla="*/ 157 w 414"/>
                <a:gd name="T11" fmla="*/ 53 h 397"/>
                <a:gd name="T12" fmla="*/ 213 w 414"/>
                <a:gd name="T13" fmla="*/ 43 h 397"/>
                <a:gd name="T14" fmla="*/ 270 w 414"/>
                <a:gd name="T15" fmla="*/ 56 h 397"/>
                <a:gd name="T16" fmla="*/ 321 w 414"/>
                <a:gd name="T17" fmla="*/ 93 h 397"/>
                <a:gd name="T18" fmla="*/ 357 w 414"/>
                <a:gd name="T19" fmla="*/ 144 h 397"/>
                <a:gd name="T20" fmla="*/ 371 w 414"/>
                <a:gd name="T21" fmla="*/ 200 h 397"/>
                <a:gd name="T22" fmla="*/ 361 w 414"/>
                <a:gd name="T23" fmla="*/ 257 h 397"/>
                <a:gd name="T24" fmla="*/ 325 w 414"/>
                <a:gd name="T25" fmla="*/ 310 h 397"/>
                <a:gd name="T26" fmla="*/ 302 w 414"/>
                <a:gd name="T27" fmla="*/ 328 h 397"/>
                <a:gd name="T28" fmla="*/ 275 w 414"/>
                <a:gd name="T29" fmla="*/ 342 h 397"/>
                <a:gd name="T30" fmla="*/ 248 w 414"/>
                <a:gd name="T31" fmla="*/ 350 h 397"/>
                <a:gd name="T32" fmla="*/ 221 w 414"/>
                <a:gd name="T33" fmla="*/ 352 h 397"/>
                <a:gd name="T34" fmla="*/ 216 w 414"/>
                <a:gd name="T35" fmla="*/ 351 h 397"/>
                <a:gd name="T36" fmla="*/ 217 w 414"/>
                <a:gd name="T37" fmla="*/ 397 h 397"/>
                <a:gd name="T38" fmla="*/ 222 w 414"/>
                <a:gd name="T39" fmla="*/ 397 h 397"/>
                <a:gd name="T40" fmla="*/ 223 w 414"/>
                <a:gd name="T41" fmla="*/ 397 h 397"/>
                <a:gd name="T42" fmla="*/ 354 w 414"/>
                <a:gd name="T43" fmla="*/ 338 h 397"/>
                <a:gd name="T44" fmla="*/ 399 w 414"/>
                <a:gd name="T45" fmla="*/ 272 h 397"/>
                <a:gd name="T46" fmla="*/ 413 w 414"/>
                <a:gd name="T47" fmla="*/ 200 h 397"/>
                <a:gd name="T48" fmla="*/ 398 w 414"/>
                <a:gd name="T49" fmla="*/ 128 h 397"/>
                <a:gd name="T50" fmla="*/ 352 w 414"/>
                <a:gd name="T51" fmla="*/ 62 h 397"/>
                <a:gd name="T52" fmla="*/ 286 w 414"/>
                <a:gd name="T53" fmla="*/ 16 h 397"/>
                <a:gd name="T54" fmla="*/ 214 w 414"/>
                <a:gd name="T55" fmla="*/ 0 h 397"/>
                <a:gd name="T56" fmla="*/ 141 w 414"/>
                <a:gd name="T57" fmla="*/ 14 h 397"/>
                <a:gd name="T58" fmla="*/ 75 w 414"/>
                <a:gd name="T59" fmla="*/ 60 h 397"/>
                <a:gd name="T60" fmla="*/ 30 w 414"/>
                <a:gd name="T61" fmla="*/ 115 h 397"/>
                <a:gd name="T62" fmla="*/ 1 w 414"/>
                <a:gd name="T63" fmla="*/ 182 h 397"/>
                <a:gd name="T64" fmla="*/ 0 w 414"/>
                <a:gd name="T65" fmla="*/ 184 h 397"/>
                <a:gd name="T66" fmla="*/ 125 w 414"/>
                <a:gd name="T67" fmla="*/ 309 h 397"/>
                <a:gd name="T68" fmla="*/ 132 w 414"/>
                <a:gd name="T69" fmla="*/ 302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4" h="397">
                  <a:moveTo>
                    <a:pt x="134" y="256"/>
                  </a:moveTo>
                  <a:lnTo>
                    <a:pt x="134" y="256"/>
                  </a:lnTo>
                  <a:lnTo>
                    <a:pt x="49" y="171"/>
                  </a:lnTo>
                  <a:cubicBezTo>
                    <a:pt x="53" y="157"/>
                    <a:pt x="60" y="143"/>
                    <a:pt x="69" y="130"/>
                  </a:cubicBezTo>
                  <a:cubicBezTo>
                    <a:pt x="79" y="116"/>
                    <a:pt x="90" y="102"/>
                    <a:pt x="104" y="88"/>
                  </a:cubicBezTo>
                  <a:cubicBezTo>
                    <a:pt x="120" y="72"/>
                    <a:pt x="138" y="60"/>
                    <a:pt x="157" y="53"/>
                  </a:cubicBezTo>
                  <a:cubicBezTo>
                    <a:pt x="175" y="45"/>
                    <a:pt x="195" y="42"/>
                    <a:pt x="213" y="43"/>
                  </a:cubicBezTo>
                  <a:cubicBezTo>
                    <a:pt x="232" y="43"/>
                    <a:pt x="251" y="48"/>
                    <a:pt x="270" y="56"/>
                  </a:cubicBezTo>
                  <a:cubicBezTo>
                    <a:pt x="288" y="65"/>
                    <a:pt x="305" y="77"/>
                    <a:pt x="321" y="93"/>
                  </a:cubicBezTo>
                  <a:cubicBezTo>
                    <a:pt x="337" y="108"/>
                    <a:pt x="349" y="126"/>
                    <a:pt x="357" y="144"/>
                  </a:cubicBezTo>
                  <a:cubicBezTo>
                    <a:pt x="366" y="162"/>
                    <a:pt x="370" y="181"/>
                    <a:pt x="371" y="200"/>
                  </a:cubicBezTo>
                  <a:cubicBezTo>
                    <a:pt x="372" y="219"/>
                    <a:pt x="368" y="238"/>
                    <a:pt x="361" y="257"/>
                  </a:cubicBezTo>
                  <a:cubicBezTo>
                    <a:pt x="354" y="276"/>
                    <a:pt x="342" y="293"/>
                    <a:pt x="325" y="310"/>
                  </a:cubicBezTo>
                  <a:cubicBezTo>
                    <a:pt x="319" y="317"/>
                    <a:pt x="311" y="323"/>
                    <a:pt x="302" y="328"/>
                  </a:cubicBezTo>
                  <a:cubicBezTo>
                    <a:pt x="294" y="334"/>
                    <a:pt x="285" y="338"/>
                    <a:pt x="275" y="342"/>
                  </a:cubicBezTo>
                  <a:cubicBezTo>
                    <a:pt x="266" y="346"/>
                    <a:pt x="257" y="349"/>
                    <a:pt x="248" y="350"/>
                  </a:cubicBezTo>
                  <a:cubicBezTo>
                    <a:pt x="238" y="352"/>
                    <a:pt x="229" y="352"/>
                    <a:pt x="221" y="352"/>
                  </a:cubicBezTo>
                  <a:lnTo>
                    <a:pt x="216" y="351"/>
                  </a:lnTo>
                  <a:lnTo>
                    <a:pt x="217" y="397"/>
                  </a:lnTo>
                  <a:lnTo>
                    <a:pt x="222" y="397"/>
                  </a:lnTo>
                  <a:lnTo>
                    <a:pt x="223" y="397"/>
                  </a:lnTo>
                  <a:cubicBezTo>
                    <a:pt x="271" y="397"/>
                    <a:pt x="315" y="377"/>
                    <a:pt x="354" y="338"/>
                  </a:cubicBezTo>
                  <a:cubicBezTo>
                    <a:pt x="374" y="318"/>
                    <a:pt x="389" y="296"/>
                    <a:pt x="399" y="272"/>
                  </a:cubicBezTo>
                  <a:cubicBezTo>
                    <a:pt x="409" y="248"/>
                    <a:pt x="414" y="224"/>
                    <a:pt x="413" y="200"/>
                  </a:cubicBezTo>
                  <a:cubicBezTo>
                    <a:pt x="413" y="176"/>
                    <a:pt x="408" y="151"/>
                    <a:pt x="398" y="128"/>
                  </a:cubicBezTo>
                  <a:cubicBezTo>
                    <a:pt x="387" y="104"/>
                    <a:pt x="372" y="82"/>
                    <a:pt x="352" y="62"/>
                  </a:cubicBezTo>
                  <a:cubicBezTo>
                    <a:pt x="332" y="42"/>
                    <a:pt x="310" y="26"/>
                    <a:pt x="286" y="16"/>
                  </a:cubicBezTo>
                  <a:cubicBezTo>
                    <a:pt x="262" y="6"/>
                    <a:pt x="238" y="0"/>
                    <a:pt x="214" y="0"/>
                  </a:cubicBezTo>
                  <a:cubicBezTo>
                    <a:pt x="189" y="0"/>
                    <a:pt x="165" y="4"/>
                    <a:pt x="141" y="14"/>
                  </a:cubicBezTo>
                  <a:cubicBezTo>
                    <a:pt x="118" y="24"/>
                    <a:pt x="95" y="40"/>
                    <a:pt x="75" y="60"/>
                  </a:cubicBezTo>
                  <a:cubicBezTo>
                    <a:pt x="58" y="77"/>
                    <a:pt x="43" y="95"/>
                    <a:pt x="30" y="115"/>
                  </a:cubicBezTo>
                  <a:cubicBezTo>
                    <a:pt x="18" y="135"/>
                    <a:pt x="8" y="158"/>
                    <a:pt x="1" y="182"/>
                  </a:cubicBezTo>
                  <a:lnTo>
                    <a:pt x="0" y="184"/>
                  </a:lnTo>
                  <a:lnTo>
                    <a:pt x="125" y="309"/>
                  </a:lnTo>
                  <a:lnTo>
                    <a:pt x="132" y="302"/>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grpSp>
    </p:spTree>
    <p:extLst>
      <p:ext uri="{BB962C8B-B14F-4D97-AF65-F5344CB8AC3E}">
        <p14:creationId xmlns:p14="http://schemas.microsoft.com/office/powerpoint/2010/main" val="7383652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8" descr="MS&amp;I_PPT Template_image2.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4680" y="0"/>
            <a:ext cx="12216680" cy="6869846"/>
          </a:xfrm>
          <a:prstGeom prst="rect">
            <a:avLst/>
          </a:prstGeom>
        </p:spPr>
      </p:pic>
      <p:sp>
        <p:nvSpPr>
          <p:cNvPr id="10" name="Text Placeholder 9"/>
          <p:cNvSpPr>
            <a:spLocks noGrp="1"/>
          </p:cNvSpPr>
          <p:nvPr>
            <p:ph type="body" sz="quarter" idx="10" hasCustomPrompt="1"/>
          </p:nvPr>
        </p:nvSpPr>
        <p:spPr>
          <a:xfrm>
            <a:off x="587388" y="2636912"/>
            <a:ext cx="10549172" cy="792162"/>
          </a:xfrm>
          <a:prstGeom prst="rect">
            <a:avLst/>
          </a:prstGeom>
        </p:spPr>
        <p:txBody>
          <a:bodyPr anchor="ctr"/>
          <a:lstStyle>
            <a:lvl1pPr marL="0" indent="0">
              <a:buNone/>
              <a:defRPr sz="3200" b="1">
                <a:solidFill>
                  <a:schemeClr val="bg1"/>
                </a:solidFill>
                <a:latin typeface="+mj-lt"/>
                <a:ea typeface="Segoe UI" panose="020B0502040204020203" pitchFamily="34" charset="0"/>
                <a:cs typeface="Segoe UI" panose="020B0502040204020203" pitchFamily="34" charset="0"/>
              </a:defRPr>
            </a:lvl1pPr>
          </a:lstStyle>
          <a:p>
            <a:pPr lvl="0"/>
            <a:r>
              <a:rPr lang="en-US" dirty="0"/>
              <a:t>Presentation Title</a:t>
            </a:r>
            <a:endParaRPr lang="en-GB" dirty="0"/>
          </a:p>
        </p:txBody>
      </p:sp>
      <p:sp>
        <p:nvSpPr>
          <p:cNvPr id="11" name="Text Placeholder 9"/>
          <p:cNvSpPr>
            <a:spLocks noGrp="1"/>
          </p:cNvSpPr>
          <p:nvPr>
            <p:ph type="body" sz="quarter" idx="11" hasCustomPrompt="1"/>
          </p:nvPr>
        </p:nvSpPr>
        <p:spPr>
          <a:xfrm>
            <a:off x="587325" y="4113076"/>
            <a:ext cx="10549172" cy="468052"/>
          </a:xfrm>
          <a:prstGeom prst="rect">
            <a:avLst/>
          </a:prstGeom>
        </p:spPr>
        <p:txBody>
          <a:bodyPr anchor="ctr"/>
          <a:lstStyle>
            <a:lvl1pPr marL="0" indent="0">
              <a:buNone/>
              <a:defRPr sz="2000" b="0">
                <a:solidFill>
                  <a:schemeClr val="bg1"/>
                </a:solidFill>
                <a:latin typeface="+mj-lt"/>
                <a:ea typeface="Segoe UI" panose="020B0502040204020203" pitchFamily="34" charset="0"/>
                <a:cs typeface="Segoe UI" panose="020B0502040204020203" pitchFamily="34" charset="0"/>
              </a:defRPr>
            </a:lvl1pPr>
          </a:lstStyle>
          <a:p>
            <a:pPr lvl="0"/>
            <a:r>
              <a:rPr lang="en-US" dirty="0"/>
              <a:t>Date</a:t>
            </a:r>
            <a:endParaRPr lang="en-GB" dirty="0"/>
          </a:p>
        </p:txBody>
      </p:sp>
      <p:sp>
        <p:nvSpPr>
          <p:cNvPr id="12" name="Text Placeholder 9"/>
          <p:cNvSpPr>
            <a:spLocks noGrp="1"/>
          </p:cNvSpPr>
          <p:nvPr>
            <p:ph type="body" sz="quarter" idx="12" hasCustomPrompt="1"/>
          </p:nvPr>
        </p:nvSpPr>
        <p:spPr>
          <a:xfrm>
            <a:off x="587388" y="4761148"/>
            <a:ext cx="10549172" cy="468052"/>
          </a:xfrm>
          <a:prstGeom prst="rect">
            <a:avLst/>
          </a:prstGeom>
        </p:spPr>
        <p:txBody>
          <a:bodyPr anchor="ctr"/>
          <a:lstStyle>
            <a:lvl1pPr marL="0" indent="0">
              <a:buNone/>
              <a:defRPr sz="2000" b="0">
                <a:solidFill>
                  <a:schemeClr val="bg1"/>
                </a:solidFill>
                <a:latin typeface="+mj-lt"/>
                <a:ea typeface="Segoe UI" panose="020B0502040204020203" pitchFamily="34" charset="0"/>
                <a:cs typeface="Segoe UI" panose="020B0502040204020203" pitchFamily="34" charset="0"/>
              </a:defRPr>
            </a:lvl1pPr>
          </a:lstStyle>
          <a:p>
            <a:pPr lvl="0"/>
            <a:r>
              <a:rPr lang="en-US" dirty="0"/>
              <a:t>Location</a:t>
            </a:r>
            <a:endParaRPr lang="en-GB" dirty="0"/>
          </a:p>
        </p:txBody>
      </p:sp>
      <p:pic>
        <p:nvPicPr>
          <p:cNvPr id="13" name="Picture 2"/>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51384" y="6129300"/>
            <a:ext cx="5290205" cy="612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17954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Section Brea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4" imgW="360" imgH="360" progId="TCLayout.ActiveDocument.1">
                  <p:embed/>
                </p:oleObj>
              </mc:Choice>
              <mc:Fallback>
                <p:oleObj name="think-cell Slide" r:id="rId4" imgW="360" imgH="36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re 1"/>
          <p:cNvSpPr>
            <a:spLocks noGrp="1"/>
          </p:cNvSpPr>
          <p:nvPr>
            <p:ph type="title"/>
          </p:nvPr>
        </p:nvSpPr>
        <p:spPr>
          <a:xfrm>
            <a:off x="287355" y="2804931"/>
            <a:ext cx="10972800" cy="768085"/>
          </a:xfrm>
          <a:prstGeom prst="rect">
            <a:avLst/>
          </a:prstGeom>
        </p:spPr>
        <p:txBody>
          <a:bodyPr anchor="ctr"/>
          <a:lstStyle>
            <a:lvl1pPr algn="ctr">
              <a:defRPr sz="4267" b="1">
                <a:solidFill>
                  <a:srgbClr val="FF0000"/>
                </a:solidFill>
                <a:latin typeface="Arial" panose="020B0604020202020204" pitchFamily="34" charset="0"/>
                <a:cs typeface="Arial" panose="020B0604020202020204" pitchFamily="34" charset="0"/>
              </a:defRPr>
            </a:lvl1pPr>
          </a:lstStyle>
          <a:p>
            <a:r>
              <a:rPr lang="en-US"/>
              <a:t>Click to edit Master title style</a:t>
            </a:r>
            <a:endParaRPr lang="fr-FR" dirty="0"/>
          </a:p>
        </p:txBody>
      </p:sp>
      <p:cxnSp>
        <p:nvCxnSpPr>
          <p:cNvPr id="11" name="Straight Connector 10"/>
          <p:cNvCxnSpPr/>
          <p:nvPr/>
        </p:nvCxnSpPr>
        <p:spPr bwMode="auto">
          <a:xfrm flipH="1">
            <a:off x="287355" y="844144"/>
            <a:ext cx="10972800" cy="0"/>
          </a:xfrm>
          <a:prstGeom prst="line">
            <a:avLst/>
          </a:prstGeom>
          <a:solidFill>
            <a:schemeClr val="accent1"/>
          </a:solidFill>
          <a:ln w="57150" cap="flat" cmpd="sng" algn="ctr">
            <a:solidFill>
              <a:schemeClr val="tx1"/>
            </a:solidFill>
            <a:prstDash val="solid"/>
            <a:round/>
            <a:headEnd type="none" w="med" len="med"/>
            <a:tailEnd type="none" w="med" len="med"/>
          </a:ln>
          <a:effectLst/>
        </p:spPr>
      </p:cxnSp>
      <p:cxnSp>
        <p:nvCxnSpPr>
          <p:cNvPr id="6" name="Straight Connector 5"/>
          <p:cNvCxnSpPr/>
          <p:nvPr/>
        </p:nvCxnSpPr>
        <p:spPr bwMode="auto">
          <a:xfrm flipH="1">
            <a:off x="287355" y="5253203"/>
            <a:ext cx="10972800" cy="0"/>
          </a:xfrm>
          <a:prstGeom prst="line">
            <a:avLst/>
          </a:prstGeom>
          <a:solidFill>
            <a:schemeClr val="accent1"/>
          </a:solidFill>
          <a:ln w="57150" cap="flat" cmpd="sng" algn="ctr">
            <a:solidFill>
              <a:schemeClr val="tx1"/>
            </a:solidFill>
            <a:prstDash val="solid"/>
            <a:round/>
            <a:headEnd type="none" w="med" len="med"/>
            <a:tailEnd type="none" w="med" len="med"/>
          </a:ln>
          <a:effectLst/>
        </p:spPr>
      </p:cxnSp>
      <p:grpSp>
        <p:nvGrpSpPr>
          <p:cNvPr id="8" name="Group 7"/>
          <p:cNvGrpSpPr/>
          <p:nvPr/>
        </p:nvGrpSpPr>
        <p:grpSpPr>
          <a:xfrm>
            <a:off x="11472861" y="116450"/>
            <a:ext cx="617539" cy="622300"/>
            <a:chOff x="4108846" y="1997013"/>
            <a:chExt cx="463154" cy="466725"/>
          </a:xfrm>
        </p:grpSpPr>
        <p:sp>
          <p:nvSpPr>
            <p:cNvPr id="12" name="Freeform 65"/>
            <p:cNvSpPr>
              <a:spLocks/>
            </p:cNvSpPr>
            <p:nvPr userDrawn="1"/>
          </p:nvSpPr>
          <p:spPr bwMode="auto">
            <a:xfrm>
              <a:off x="4108846" y="1997013"/>
              <a:ext cx="463154" cy="466725"/>
            </a:xfrm>
            <a:custGeom>
              <a:avLst/>
              <a:gdLst>
                <a:gd name="T0" fmla="*/ 982 w 982"/>
                <a:gd name="T1" fmla="*/ 491 h 982"/>
                <a:gd name="T2" fmla="*/ 982 w 982"/>
                <a:gd name="T3" fmla="*/ 491 h 982"/>
                <a:gd name="T4" fmla="*/ 491 w 982"/>
                <a:gd name="T5" fmla="*/ 982 h 982"/>
                <a:gd name="T6" fmla="*/ 0 w 982"/>
                <a:gd name="T7" fmla="*/ 491 h 982"/>
                <a:gd name="T8" fmla="*/ 491 w 982"/>
                <a:gd name="T9" fmla="*/ 0 h 982"/>
                <a:gd name="T10" fmla="*/ 982 w 982"/>
                <a:gd name="T11" fmla="*/ 491 h 982"/>
                <a:gd name="T12" fmla="*/ 982 w 982"/>
                <a:gd name="T13" fmla="*/ 491 h 982"/>
              </a:gdLst>
              <a:ahLst/>
              <a:cxnLst>
                <a:cxn ang="0">
                  <a:pos x="T0" y="T1"/>
                </a:cxn>
                <a:cxn ang="0">
                  <a:pos x="T2" y="T3"/>
                </a:cxn>
                <a:cxn ang="0">
                  <a:pos x="T4" y="T5"/>
                </a:cxn>
                <a:cxn ang="0">
                  <a:pos x="T6" y="T7"/>
                </a:cxn>
                <a:cxn ang="0">
                  <a:pos x="T8" y="T9"/>
                </a:cxn>
                <a:cxn ang="0">
                  <a:pos x="T10" y="T11"/>
                </a:cxn>
                <a:cxn ang="0">
                  <a:pos x="T12" y="T13"/>
                </a:cxn>
              </a:cxnLst>
              <a:rect l="0" t="0" r="r" b="b"/>
              <a:pathLst>
                <a:path w="982" h="982">
                  <a:moveTo>
                    <a:pt x="982" y="491"/>
                  </a:moveTo>
                  <a:lnTo>
                    <a:pt x="982" y="491"/>
                  </a:lnTo>
                  <a:cubicBezTo>
                    <a:pt x="982" y="762"/>
                    <a:pt x="762" y="982"/>
                    <a:pt x="491" y="982"/>
                  </a:cubicBezTo>
                  <a:cubicBezTo>
                    <a:pt x="220" y="982"/>
                    <a:pt x="0" y="762"/>
                    <a:pt x="0" y="491"/>
                  </a:cubicBezTo>
                  <a:cubicBezTo>
                    <a:pt x="0" y="220"/>
                    <a:pt x="220" y="0"/>
                    <a:pt x="491" y="0"/>
                  </a:cubicBezTo>
                  <a:cubicBezTo>
                    <a:pt x="762" y="0"/>
                    <a:pt x="982" y="220"/>
                    <a:pt x="982" y="491"/>
                  </a:cubicBezTo>
                  <a:lnTo>
                    <a:pt x="982" y="491"/>
                  </a:lnTo>
                  <a:close/>
                </a:path>
              </a:pathLst>
            </a:custGeom>
            <a:solidFill>
              <a:srgbClr val="E70419"/>
            </a:solidFill>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US" sz="1800"/>
            </a:p>
          </p:txBody>
        </p:sp>
        <p:sp>
          <p:nvSpPr>
            <p:cNvPr id="13" name="Freeform 66"/>
            <p:cNvSpPr>
              <a:spLocks/>
            </p:cNvSpPr>
            <p:nvPr userDrawn="1"/>
          </p:nvSpPr>
          <p:spPr bwMode="auto">
            <a:xfrm>
              <a:off x="4211201" y="2137704"/>
              <a:ext cx="195263" cy="189310"/>
            </a:xfrm>
            <a:custGeom>
              <a:avLst/>
              <a:gdLst>
                <a:gd name="T0" fmla="*/ 280 w 414"/>
                <a:gd name="T1" fmla="*/ 141 h 398"/>
                <a:gd name="T2" fmla="*/ 280 w 414"/>
                <a:gd name="T3" fmla="*/ 141 h 398"/>
                <a:gd name="T4" fmla="*/ 365 w 414"/>
                <a:gd name="T5" fmla="*/ 226 h 398"/>
                <a:gd name="T6" fmla="*/ 345 w 414"/>
                <a:gd name="T7" fmla="*/ 268 h 398"/>
                <a:gd name="T8" fmla="*/ 310 w 414"/>
                <a:gd name="T9" fmla="*/ 309 h 398"/>
                <a:gd name="T10" fmla="*/ 257 w 414"/>
                <a:gd name="T11" fmla="*/ 345 h 398"/>
                <a:gd name="T12" fmla="*/ 201 w 414"/>
                <a:gd name="T13" fmla="*/ 355 h 398"/>
                <a:gd name="T14" fmla="*/ 144 w 414"/>
                <a:gd name="T15" fmla="*/ 341 h 398"/>
                <a:gd name="T16" fmla="*/ 93 w 414"/>
                <a:gd name="T17" fmla="*/ 305 h 398"/>
                <a:gd name="T18" fmla="*/ 57 w 414"/>
                <a:gd name="T19" fmla="*/ 254 h 398"/>
                <a:gd name="T20" fmla="*/ 43 w 414"/>
                <a:gd name="T21" fmla="*/ 197 h 398"/>
                <a:gd name="T22" fmla="*/ 53 w 414"/>
                <a:gd name="T23" fmla="*/ 141 h 398"/>
                <a:gd name="T24" fmla="*/ 89 w 414"/>
                <a:gd name="T25" fmla="*/ 88 h 398"/>
                <a:gd name="T26" fmla="*/ 112 w 414"/>
                <a:gd name="T27" fmla="*/ 69 h 398"/>
                <a:gd name="T28" fmla="*/ 139 w 414"/>
                <a:gd name="T29" fmla="*/ 55 h 398"/>
                <a:gd name="T30" fmla="*/ 166 w 414"/>
                <a:gd name="T31" fmla="*/ 47 h 398"/>
                <a:gd name="T32" fmla="*/ 193 w 414"/>
                <a:gd name="T33" fmla="*/ 46 h 398"/>
                <a:gd name="T34" fmla="*/ 198 w 414"/>
                <a:gd name="T35" fmla="*/ 46 h 398"/>
                <a:gd name="T36" fmla="*/ 197 w 414"/>
                <a:gd name="T37" fmla="*/ 1 h 398"/>
                <a:gd name="T38" fmla="*/ 192 w 414"/>
                <a:gd name="T39" fmla="*/ 0 h 398"/>
                <a:gd name="T40" fmla="*/ 191 w 414"/>
                <a:gd name="T41" fmla="*/ 0 h 398"/>
                <a:gd name="T42" fmla="*/ 60 w 414"/>
                <a:gd name="T43" fmla="*/ 59 h 398"/>
                <a:gd name="T44" fmla="*/ 15 w 414"/>
                <a:gd name="T45" fmla="*/ 125 h 398"/>
                <a:gd name="T46" fmla="*/ 1 w 414"/>
                <a:gd name="T47" fmla="*/ 198 h 398"/>
                <a:gd name="T48" fmla="*/ 16 w 414"/>
                <a:gd name="T49" fmla="*/ 270 h 398"/>
                <a:gd name="T50" fmla="*/ 62 w 414"/>
                <a:gd name="T51" fmla="*/ 336 h 398"/>
                <a:gd name="T52" fmla="*/ 128 w 414"/>
                <a:gd name="T53" fmla="*/ 382 h 398"/>
                <a:gd name="T54" fmla="*/ 200 w 414"/>
                <a:gd name="T55" fmla="*/ 398 h 398"/>
                <a:gd name="T56" fmla="*/ 203 w 414"/>
                <a:gd name="T57" fmla="*/ 398 h 398"/>
                <a:gd name="T58" fmla="*/ 273 w 414"/>
                <a:gd name="T59" fmla="*/ 383 h 398"/>
                <a:gd name="T60" fmla="*/ 339 w 414"/>
                <a:gd name="T61" fmla="*/ 338 h 398"/>
                <a:gd name="T62" fmla="*/ 384 w 414"/>
                <a:gd name="T63" fmla="*/ 282 h 398"/>
                <a:gd name="T64" fmla="*/ 413 w 414"/>
                <a:gd name="T65" fmla="*/ 216 h 398"/>
                <a:gd name="T66" fmla="*/ 414 w 414"/>
                <a:gd name="T67" fmla="*/ 213 h 398"/>
                <a:gd name="T68" fmla="*/ 289 w 414"/>
                <a:gd name="T69" fmla="*/ 89 h 398"/>
                <a:gd name="T70" fmla="*/ 282 w 414"/>
                <a:gd name="T71" fmla="*/ 9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398">
                  <a:moveTo>
                    <a:pt x="280" y="141"/>
                  </a:moveTo>
                  <a:lnTo>
                    <a:pt x="280" y="141"/>
                  </a:lnTo>
                  <a:lnTo>
                    <a:pt x="365" y="226"/>
                  </a:lnTo>
                  <a:cubicBezTo>
                    <a:pt x="361" y="241"/>
                    <a:pt x="354" y="255"/>
                    <a:pt x="345" y="268"/>
                  </a:cubicBezTo>
                  <a:cubicBezTo>
                    <a:pt x="335" y="282"/>
                    <a:pt x="324" y="296"/>
                    <a:pt x="310" y="309"/>
                  </a:cubicBezTo>
                  <a:cubicBezTo>
                    <a:pt x="294" y="326"/>
                    <a:pt x="276" y="338"/>
                    <a:pt x="257" y="345"/>
                  </a:cubicBezTo>
                  <a:cubicBezTo>
                    <a:pt x="239" y="352"/>
                    <a:pt x="219" y="356"/>
                    <a:pt x="201" y="355"/>
                  </a:cubicBezTo>
                  <a:cubicBezTo>
                    <a:pt x="182" y="354"/>
                    <a:pt x="163" y="350"/>
                    <a:pt x="144" y="341"/>
                  </a:cubicBezTo>
                  <a:cubicBezTo>
                    <a:pt x="126" y="333"/>
                    <a:pt x="109" y="321"/>
                    <a:pt x="93" y="305"/>
                  </a:cubicBezTo>
                  <a:cubicBezTo>
                    <a:pt x="77" y="289"/>
                    <a:pt x="65" y="272"/>
                    <a:pt x="57" y="254"/>
                  </a:cubicBezTo>
                  <a:cubicBezTo>
                    <a:pt x="48" y="235"/>
                    <a:pt x="44" y="216"/>
                    <a:pt x="43" y="197"/>
                  </a:cubicBezTo>
                  <a:cubicBezTo>
                    <a:pt x="42" y="178"/>
                    <a:pt x="46" y="159"/>
                    <a:pt x="53" y="141"/>
                  </a:cubicBezTo>
                  <a:cubicBezTo>
                    <a:pt x="60" y="122"/>
                    <a:pt x="72" y="104"/>
                    <a:pt x="89" y="88"/>
                  </a:cubicBezTo>
                  <a:cubicBezTo>
                    <a:pt x="95" y="81"/>
                    <a:pt x="103" y="75"/>
                    <a:pt x="112" y="69"/>
                  </a:cubicBezTo>
                  <a:cubicBezTo>
                    <a:pt x="120" y="64"/>
                    <a:pt x="129" y="59"/>
                    <a:pt x="139" y="55"/>
                  </a:cubicBezTo>
                  <a:cubicBezTo>
                    <a:pt x="148" y="52"/>
                    <a:pt x="157" y="49"/>
                    <a:pt x="166" y="47"/>
                  </a:cubicBezTo>
                  <a:cubicBezTo>
                    <a:pt x="176" y="46"/>
                    <a:pt x="185" y="45"/>
                    <a:pt x="193" y="46"/>
                  </a:cubicBezTo>
                  <a:lnTo>
                    <a:pt x="198" y="46"/>
                  </a:lnTo>
                  <a:lnTo>
                    <a:pt x="197" y="1"/>
                  </a:lnTo>
                  <a:lnTo>
                    <a:pt x="192" y="0"/>
                  </a:lnTo>
                  <a:lnTo>
                    <a:pt x="191" y="0"/>
                  </a:lnTo>
                  <a:cubicBezTo>
                    <a:pt x="143" y="0"/>
                    <a:pt x="99" y="20"/>
                    <a:pt x="60" y="59"/>
                  </a:cubicBezTo>
                  <a:cubicBezTo>
                    <a:pt x="40" y="79"/>
                    <a:pt x="25" y="102"/>
                    <a:pt x="15" y="125"/>
                  </a:cubicBezTo>
                  <a:cubicBezTo>
                    <a:pt x="5" y="149"/>
                    <a:pt x="0" y="173"/>
                    <a:pt x="1" y="198"/>
                  </a:cubicBezTo>
                  <a:cubicBezTo>
                    <a:pt x="1" y="222"/>
                    <a:pt x="6" y="246"/>
                    <a:pt x="16" y="270"/>
                  </a:cubicBezTo>
                  <a:cubicBezTo>
                    <a:pt x="27" y="294"/>
                    <a:pt x="42" y="316"/>
                    <a:pt x="62" y="336"/>
                  </a:cubicBezTo>
                  <a:cubicBezTo>
                    <a:pt x="82" y="356"/>
                    <a:pt x="104" y="371"/>
                    <a:pt x="128" y="382"/>
                  </a:cubicBezTo>
                  <a:cubicBezTo>
                    <a:pt x="152" y="392"/>
                    <a:pt x="176" y="397"/>
                    <a:pt x="200" y="398"/>
                  </a:cubicBezTo>
                  <a:cubicBezTo>
                    <a:pt x="201" y="398"/>
                    <a:pt x="202" y="398"/>
                    <a:pt x="203" y="398"/>
                  </a:cubicBezTo>
                  <a:cubicBezTo>
                    <a:pt x="227" y="398"/>
                    <a:pt x="250" y="393"/>
                    <a:pt x="273" y="383"/>
                  </a:cubicBezTo>
                  <a:cubicBezTo>
                    <a:pt x="296" y="373"/>
                    <a:pt x="319" y="358"/>
                    <a:pt x="339" y="338"/>
                  </a:cubicBezTo>
                  <a:cubicBezTo>
                    <a:pt x="356" y="321"/>
                    <a:pt x="371" y="302"/>
                    <a:pt x="384" y="282"/>
                  </a:cubicBezTo>
                  <a:cubicBezTo>
                    <a:pt x="396" y="262"/>
                    <a:pt x="406" y="240"/>
                    <a:pt x="413" y="216"/>
                  </a:cubicBezTo>
                  <a:lnTo>
                    <a:pt x="414" y="213"/>
                  </a:lnTo>
                  <a:lnTo>
                    <a:pt x="289" y="89"/>
                  </a:lnTo>
                  <a:lnTo>
                    <a:pt x="282" y="95"/>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 name="Freeform 67"/>
            <p:cNvSpPr>
              <a:spLocks/>
            </p:cNvSpPr>
            <p:nvPr userDrawn="1"/>
          </p:nvSpPr>
          <p:spPr bwMode="auto">
            <a:xfrm>
              <a:off x="4289550" y="2135720"/>
              <a:ext cx="195263" cy="189310"/>
            </a:xfrm>
            <a:custGeom>
              <a:avLst/>
              <a:gdLst>
                <a:gd name="T0" fmla="*/ 134 w 414"/>
                <a:gd name="T1" fmla="*/ 256 h 397"/>
                <a:gd name="T2" fmla="*/ 134 w 414"/>
                <a:gd name="T3" fmla="*/ 256 h 397"/>
                <a:gd name="T4" fmla="*/ 49 w 414"/>
                <a:gd name="T5" fmla="*/ 171 h 397"/>
                <a:gd name="T6" fmla="*/ 69 w 414"/>
                <a:gd name="T7" fmla="*/ 130 h 397"/>
                <a:gd name="T8" fmla="*/ 104 w 414"/>
                <a:gd name="T9" fmla="*/ 88 h 397"/>
                <a:gd name="T10" fmla="*/ 157 w 414"/>
                <a:gd name="T11" fmla="*/ 53 h 397"/>
                <a:gd name="T12" fmla="*/ 213 w 414"/>
                <a:gd name="T13" fmla="*/ 43 h 397"/>
                <a:gd name="T14" fmla="*/ 270 w 414"/>
                <a:gd name="T15" fmla="*/ 56 h 397"/>
                <a:gd name="T16" fmla="*/ 321 w 414"/>
                <a:gd name="T17" fmla="*/ 93 h 397"/>
                <a:gd name="T18" fmla="*/ 357 w 414"/>
                <a:gd name="T19" fmla="*/ 144 h 397"/>
                <a:gd name="T20" fmla="*/ 371 w 414"/>
                <a:gd name="T21" fmla="*/ 200 h 397"/>
                <a:gd name="T22" fmla="*/ 361 w 414"/>
                <a:gd name="T23" fmla="*/ 257 h 397"/>
                <a:gd name="T24" fmla="*/ 325 w 414"/>
                <a:gd name="T25" fmla="*/ 310 h 397"/>
                <a:gd name="T26" fmla="*/ 302 w 414"/>
                <a:gd name="T27" fmla="*/ 328 h 397"/>
                <a:gd name="T28" fmla="*/ 275 w 414"/>
                <a:gd name="T29" fmla="*/ 342 h 397"/>
                <a:gd name="T30" fmla="*/ 248 w 414"/>
                <a:gd name="T31" fmla="*/ 350 h 397"/>
                <a:gd name="T32" fmla="*/ 221 w 414"/>
                <a:gd name="T33" fmla="*/ 352 h 397"/>
                <a:gd name="T34" fmla="*/ 216 w 414"/>
                <a:gd name="T35" fmla="*/ 351 h 397"/>
                <a:gd name="T36" fmla="*/ 217 w 414"/>
                <a:gd name="T37" fmla="*/ 397 h 397"/>
                <a:gd name="T38" fmla="*/ 222 w 414"/>
                <a:gd name="T39" fmla="*/ 397 h 397"/>
                <a:gd name="T40" fmla="*/ 223 w 414"/>
                <a:gd name="T41" fmla="*/ 397 h 397"/>
                <a:gd name="T42" fmla="*/ 354 w 414"/>
                <a:gd name="T43" fmla="*/ 338 h 397"/>
                <a:gd name="T44" fmla="*/ 399 w 414"/>
                <a:gd name="T45" fmla="*/ 272 h 397"/>
                <a:gd name="T46" fmla="*/ 413 w 414"/>
                <a:gd name="T47" fmla="*/ 200 h 397"/>
                <a:gd name="T48" fmla="*/ 398 w 414"/>
                <a:gd name="T49" fmla="*/ 128 h 397"/>
                <a:gd name="T50" fmla="*/ 352 w 414"/>
                <a:gd name="T51" fmla="*/ 62 h 397"/>
                <a:gd name="T52" fmla="*/ 286 w 414"/>
                <a:gd name="T53" fmla="*/ 16 h 397"/>
                <a:gd name="T54" fmla="*/ 214 w 414"/>
                <a:gd name="T55" fmla="*/ 0 h 397"/>
                <a:gd name="T56" fmla="*/ 141 w 414"/>
                <a:gd name="T57" fmla="*/ 14 h 397"/>
                <a:gd name="T58" fmla="*/ 75 w 414"/>
                <a:gd name="T59" fmla="*/ 60 h 397"/>
                <a:gd name="T60" fmla="*/ 30 w 414"/>
                <a:gd name="T61" fmla="*/ 115 h 397"/>
                <a:gd name="T62" fmla="*/ 1 w 414"/>
                <a:gd name="T63" fmla="*/ 182 h 397"/>
                <a:gd name="T64" fmla="*/ 0 w 414"/>
                <a:gd name="T65" fmla="*/ 184 h 397"/>
                <a:gd name="T66" fmla="*/ 125 w 414"/>
                <a:gd name="T67" fmla="*/ 309 h 397"/>
                <a:gd name="T68" fmla="*/ 132 w 414"/>
                <a:gd name="T69" fmla="*/ 302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4" h="397">
                  <a:moveTo>
                    <a:pt x="134" y="256"/>
                  </a:moveTo>
                  <a:lnTo>
                    <a:pt x="134" y="256"/>
                  </a:lnTo>
                  <a:lnTo>
                    <a:pt x="49" y="171"/>
                  </a:lnTo>
                  <a:cubicBezTo>
                    <a:pt x="53" y="157"/>
                    <a:pt x="60" y="143"/>
                    <a:pt x="69" y="130"/>
                  </a:cubicBezTo>
                  <a:cubicBezTo>
                    <a:pt x="79" y="116"/>
                    <a:pt x="90" y="102"/>
                    <a:pt x="104" y="88"/>
                  </a:cubicBezTo>
                  <a:cubicBezTo>
                    <a:pt x="120" y="72"/>
                    <a:pt x="138" y="60"/>
                    <a:pt x="157" y="53"/>
                  </a:cubicBezTo>
                  <a:cubicBezTo>
                    <a:pt x="175" y="45"/>
                    <a:pt x="195" y="42"/>
                    <a:pt x="213" y="43"/>
                  </a:cubicBezTo>
                  <a:cubicBezTo>
                    <a:pt x="232" y="43"/>
                    <a:pt x="251" y="48"/>
                    <a:pt x="270" y="56"/>
                  </a:cubicBezTo>
                  <a:cubicBezTo>
                    <a:pt x="288" y="65"/>
                    <a:pt x="305" y="77"/>
                    <a:pt x="321" y="93"/>
                  </a:cubicBezTo>
                  <a:cubicBezTo>
                    <a:pt x="337" y="108"/>
                    <a:pt x="349" y="126"/>
                    <a:pt x="357" y="144"/>
                  </a:cubicBezTo>
                  <a:cubicBezTo>
                    <a:pt x="366" y="162"/>
                    <a:pt x="370" y="181"/>
                    <a:pt x="371" y="200"/>
                  </a:cubicBezTo>
                  <a:cubicBezTo>
                    <a:pt x="372" y="219"/>
                    <a:pt x="368" y="238"/>
                    <a:pt x="361" y="257"/>
                  </a:cubicBezTo>
                  <a:cubicBezTo>
                    <a:pt x="354" y="276"/>
                    <a:pt x="342" y="293"/>
                    <a:pt x="325" y="310"/>
                  </a:cubicBezTo>
                  <a:cubicBezTo>
                    <a:pt x="319" y="317"/>
                    <a:pt x="311" y="323"/>
                    <a:pt x="302" y="328"/>
                  </a:cubicBezTo>
                  <a:cubicBezTo>
                    <a:pt x="294" y="334"/>
                    <a:pt x="285" y="338"/>
                    <a:pt x="275" y="342"/>
                  </a:cubicBezTo>
                  <a:cubicBezTo>
                    <a:pt x="266" y="346"/>
                    <a:pt x="257" y="349"/>
                    <a:pt x="248" y="350"/>
                  </a:cubicBezTo>
                  <a:cubicBezTo>
                    <a:pt x="238" y="352"/>
                    <a:pt x="229" y="352"/>
                    <a:pt x="221" y="352"/>
                  </a:cubicBezTo>
                  <a:lnTo>
                    <a:pt x="216" y="351"/>
                  </a:lnTo>
                  <a:lnTo>
                    <a:pt x="217" y="397"/>
                  </a:lnTo>
                  <a:lnTo>
                    <a:pt x="222" y="397"/>
                  </a:lnTo>
                  <a:lnTo>
                    <a:pt x="223" y="397"/>
                  </a:lnTo>
                  <a:cubicBezTo>
                    <a:pt x="271" y="397"/>
                    <a:pt x="315" y="377"/>
                    <a:pt x="354" y="338"/>
                  </a:cubicBezTo>
                  <a:cubicBezTo>
                    <a:pt x="374" y="318"/>
                    <a:pt x="389" y="296"/>
                    <a:pt x="399" y="272"/>
                  </a:cubicBezTo>
                  <a:cubicBezTo>
                    <a:pt x="409" y="248"/>
                    <a:pt x="414" y="224"/>
                    <a:pt x="413" y="200"/>
                  </a:cubicBezTo>
                  <a:cubicBezTo>
                    <a:pt x="413" y="176"/>
                    <a:pt x="408" y="151"/>
                    <a:pt x="398" y="128"/>
                  </a:cubicBezTo>
                  <a:cubicBezTo>
                    <a:pt x="387" y="104"/>
                    <a:pt x="372" y="82"/>
                    <a:pt x="352" y="62"/>
                  </a:cubicBezTo>
                  <a:cubicBezTo>
                    <a:pt x="332" y="42"/>
                    <a:pt x="310" y="26"/>
                    <a:pt x="286" y="16"/>
                  </a:cubicBezTo>
                  <a:cubicBezTo>
                    <a:pt x="262" y="6"/>
                    <a:pt x="238" y="0"/>
                    <a:pt x="214" y="0"/>
                  </a:cubicBezTo>
                  <a:cubicBezTo>
                    <a:pt x="189" y="0"/>
                    <a:pt x="165" y="4"/>
                    <a:pt x="141" y="14"/>
                  </a:cubicBezTo>
                  <a:cubicBezTo>
                    <a:pt x="118" y="24"/>
                    <a:pt x="95" y="40"/>
                    <a:pt x="75" y="60"/>
                  </a:cubicBezTo>
                  <a:cubicBezTo>
                    <a:pt x="58" y="77"/>
                    <a:pt x="43" y="95"/>
                    <a:pt x="30" y="115"/>
                  </a:cubicBezTo>
                  <a:cubicBezTo>
                    <a:pt x="18" y="135"/>
                    <a:pt x="8" y="158"/>
                    <a:pt x="1" y="182"/>
                  </a:cubicBezTo>
                  <a:lnTo>
                    <a:pt x="0" y="184"/>
                  </a:lnTo>
                  <a:lnTo>
                    <a:pt x="125" y="309"/>
                  </a:lnTo>
                  <a:lnTo>
                    <a:pt x="132" y="302"/>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grpSp>
    </p:spTree>
    <p:extLst>
      <p:ext uri="{BB962C8B-B14F-4D97-AF65-F5344CB8AC3E}">
        <p14:creationId xmlns:p14="http://schemas.microsoft.com/office/powerpoint/2010/main" val="1206785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6" name="Text Placeholder 13"/>
          <p:cNvSpPr>
            <a:spLocks noGrp="1"/>
          </p:cNvSpPr>
          <p:nvPr>
            <p:ph type="body" sz="quarter" idx="10" hasCustomPrompt="1"/>
          </p:nvPr>
        </p:nvSpPr>
        <p:spPr>
          <a:xfrm>
            <a:off x="587388" y="164369"/>
            <a:ext cx="10596439" cy="564331"/>
          </a:xfrm>
          <a:prstGeom prst="rect">
            <a:avLst/>
          </a:prstGeom>
        </p:spPr>
        <p:txBody>
          <a:bodyPr lIns="36000" anchor="ct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600" b="1" baseline="0">
                <a:solidFill>
                  <a:schemeClr val="bg1">
                    <a:lumMod val="50000"/>
                  </a:schemeClr>
                </a:solidFill>
                <a:latin typeface="+mj-lt"/>
                <a:ea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Title message</a:t>
            </a:r>
          </a:p>
        </p:txBody>
      </p:sp>
      <p:sp>
        <p:nvSpPr>
          <p:cNvPr id="17" name="Text Placeholder 13"/>
          <p:cNvSpPr>
            <a:spLocks noGrp="1"/>
          </p:cNvSpPr>
          <p:nvPr>
            <p:ph type="body" sz="quarter" idx="11" hasCustomPrompt="1"/>
          </p:nvPr>
        </p:nvSpPr>
        <p:spPr>
          <a:xfrm>
            <a:off x="126599" y="5949280"/>
            <a:ext cx="8791074" cy="296652"/>
          </a:xfrm>
          <a:prstGeom prst="rect">
            <a:avLst/>
          </a:prstGeom>
        </p:spPr>
        <p:txBody>
          <a:bodyPr anchor="b"/>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1" baseline="0">
                <a:solidFill>
                  <a:schemeClr val="tx1">
                    <a:lumMod val="75000"/>
                    <a:lumOff val="25000"/>
                  </a:schemeClr>
                </a:solidFill>
                <a:latin typeface="+mj-lt"/>
                <a:ea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ource: </a:t>
            </a:r>
          </a:p>
        </p:txBody>
      </p:sp>
      <p:sp>
        <p:nvSpPr>
          <p:cNvPr id="5" name="Text Placeholder 4"/>
          <p:cNvSpPr>
            <a:spLocks noGrp="1"/>
          </p:cNvSpPr>
          <p:nvPr>
            <p:ph type="body" sz="quarter" idx="12" hasCustomPrompt="1"/>
          </p:nvPr>
        </p:nvSpPr>
        <p:spPr>
          <a:xfrm>
            <a:off x="587388" y="980728"/>
            <a:ext cx="8640960" cy="324036"/>
          </a:xfrm>
          <a:prstGeom prst="rect">
            <a:avLst/>
          </a:prstGeom>
        </p:spPr>
        <p:txBody>
          <a:bodyPr lIns="36000"/>
          <a:lstStyle>
            <a:lvl1pPr marL="0" indent="0">
              <a:buNone/>
              <a:defRPr sz="1600" baseline="0"/>
            </a:lvl1pPr>
          </a:lstStyle>
          <a:p>
            <a:pPr lvl="0"/>
            <a:r>
              <a:rPr lang="en-US" dirty="0"/>
              <a:t>SLIDE/CHART TITLE</a:t>
            </a:r>
          </a:p>
        </p:txBody>
      </p:sp>
      <p:sp>
        <p:nvSpPr>
          <p:cNvPr id="2" name="Footer Placeholder 1"/>
          <p:cNvSpPr>
            <a:spLocks noGrp="1"/>
          </p:cNvSpPr>
          <p:nvPr>
            <p:ph type="ftr" sz="quarter" idx="13"/>
          </p:nvPr>
        </p:nvSpPr>
        <p:spPr/>
        <p:txBody>
          <a:bodyPr/>
          <a:lstStyle/>
          <a:p>
            <a:r>
              <a:rPr lang="en-US"/>
              <a:t>Classified - Confidential</a:t>
            </a:r>
          </a:p>
        </p:txBody>
      </p:sp>
      <p:sp>
        <p:nvSpPr>
          <p:cNvPr id="3" name="Slide Number Placeholder 2"/>
          <p:cNvSpPr>
            <a:spLocks noGrp="1"/>
          </p:cNvSpPr>
          <p:nvPr>
            <p:ph type="sldNum" sz="quarter" idx="14"/>
          </p:nvPr>
        </p:nvSpPr>
        <p:spPr/>
        <p:txBody>
          <a:bodyPr/>
          <a:lstStyle/>
          <a:p>
            <a:fld id="{928DFF61-F191-4BBD-9786-F0B2A8ED871C}" type="slidenum">
              <a:rPr lang="en-US" smtClean="0"/>
              <a:pPr/>
              <a:t>‹#›</a:t>
            </a:fld>
            <a:endParaRPr lang="en-US"/>
          </a:p>
        </p:txBody>
      </p:sp>
    </p:spTree>
    <p:extLst>
      <p:ext uri="{BB962C8B-B14F-4D97-AF65-F5344CB8AC3E}">
        <p14:creationId xmlns:p14="http://schemas.microsoft.com/office/powerpoint/2010/main" val="4109273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CF97D-3193-4035-8E35-BC84A61F59A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709D4721-8AB9-4058-B30B-6D8A8799AC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FDC1A4B-4334-44F8-A3FE-C8C628077B2C}"/>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5" name="Footer Placeholder 4">
            <a:extLst>
              <a:ext uri="{FF2B5EF4-FFF2-40B4-BE49-F238E27FC236}">
                <a16:creationId xmlns:a16="http://schemas.microsoft.com/office/drawing/2014/main" id="{DA79382C-6494-4C42-8C91-42DE14FCD6B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88F978C-07AF-4B80-B311-54B6AC6AF099}"/>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845238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0A0F1-8C72-4DC1-B951-CD3FF7D815D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C575AC3-5CA7-43CD-8232-4733C71599A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69FA27E3-1270-4CEF-AAC6-C8C9821551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348BE30D-C648-4253-9144-1FD68C88DFD9}"/>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6" name="Footer Placeholder 5">
            <a:extLst>
              <a:ext uri="{FF2B5EF4-FFF2-40B4-BE49-F238E27FC236}">
                <a16:creationId xmlns:a16="http://schemas.microsoft.com/office/drawing/2014/main" id="{50977684-5AB3-4144-ABAD-4F8EFD51438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5209922-FEC2-4E60-AC98-69F0F584468B}"/>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1571410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5E7D1-40B8-4F7C-A620-65D6D427DECF}"/>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64DAF072-2187-4337-9ACD-AA0A506FD2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A5367E6-B003-46DF-9360-3562D04DAA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12DDCD26-5FC5-4A86-8BA6-265AE5CD22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1471371-8FA5-44C3-8DF7-71D66C384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E4F1F2FF-8BD0-4F43-B0F4-4237554CF111}"/>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8" name="Footer Placeholder 7">
            <a:extLst>
              <a:ext uri="{FF2B5EF4-FFF2-40B4-BE49-F238E27FC236}">
                <a16:creationId xmlns:a16="http://schemas.microsoft.com/office/drawing/2014/main" id="{DF0F44EE-F1A0-4DC7-B7A4-1B7CE2263E17}"/>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1009EF68-86CA-4547-946E-403DFB4373BA}"/>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147057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FC1583-20B8-4174-A39B-6903331B0739}"/>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853F9DE-477B-400B-A297-D69791EDA42A}"/>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4" name="Footer Placeholder 3">
            <a:extLst>
              <a:ext uri="{FF2B5EF4-FFF2-40B4-BE49-F238E27FC236}">
                <a16:creationId xmlns:a16="http://schemas.microsoft.com/office/drawing/2014/main" id="{6A383D38-E85A-450C-87DA-F3C3140A381C}"/>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1B73AA56-F259-4CE1-931D-41FF5B9395CD}"/>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2086359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F273B1-D3DB-401A-A70A-5528E45E0EC2}"/>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3" name="Footer Placeholder 2">
            <a:extLst>
              <a:ext uri="{FF2B5EF4-FFF2-40B4-BE49-F238E27FC236}">
                <a16:creationId xmlns:a16="http://schemas.microsoft.com/office/drawing/2014/main" id="{07B05039-CA1A-4CC4-A4C4-94048A841327}"/>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981C7653-E527-41E5-A262-B23822D08A5E}"/>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39071311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7906D-603A-41A4-A50C-75E1BAC92D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E722789-FBD3-45F5-811E-5F09B321769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CCB31B3D-43C3-4594-B5B5-18CBB479A6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1E0491-B487-48F3-B712-B573B2FA0855}"/>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6" name="Footer Placeholder 5">
            <a:extLst>
              <a:ext uri="{FF2B5EF4-FFF2-40B4-BE49-F238E27FC236}">
                <a16:creationId xmlns:a16="http://schemas.microsoft.com/office/drawing/2014/main" id="{2D84AC0C-63A6-43CE-9BCF-8C20E6C7A6F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53E301D-2254-4BE8-816A-598C34CFA15B}"/>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22513775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4AD67-DB26-41F1-908B-03FEDC8E43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0E9A8801-ADAC-4DE7-8B3F-1C09B0EDBC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9E6F531C-8DA6-44E2-AADE-AF1C8CF67D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C5712B1-1B5A-4FCD-B938-473CE4E36977}"/>
              </a:ext>
            </a:extLst>
          </p:cNvPr>
          <p:cNvSpPr>
            <a:spLocks noGrp="1"/>
          </p:cNvSpPr>
          <p:nvPr>
            <p:ph type="dt" sz="half" idx="10"/>
          </p:nvPr>
        </p:nvSpPr>
        <p:spPr/>
        <p:txBody>
          <a:bodyPr/>
          <a:lstStyle/>
          <a:p>
            <a:fld id="{98983375-9F00-410A-AA8A-2C9B308A78F3}" type="datetimeFigureOut">
              <a:rPr lang="en-IN" smtClean="0"/>
              <a:t>07-02-2022</a:t>
            </a:fld>
            <a:endParaRPr lang="en-IN"/>
          </a:p>
        </p:txBody>
      </p:sp>
      <p:sp>
        <p:nvSpPr>
          <p:cNvPr id="6" name="Footer Placeholder 5">
            <a:extLst>
              <a:ext uri="{FF2B5EF4-FFF2-40B4-BE49-F238E27FC236}">
                <a16:creationId xmlns:a16="http://schemas.microsoft.com/office/drawing/2014/main" id="{FDB24C6E-25CC-4A50-9D17-8DE9EB361DB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C54BA09-EB09-4C17-9B74-0D5DBFF0EB33}"/>
              </a:ext>
            </a:extLst>
          </p:cNvPr>
          <p:cNvSpPr>
            <a:spLocks noGrp="1"/>
          </p:cNvSpPr>
          <p:nvPr>
            <p:ph type="sldNum" sz="quarter" idx="12"/>
          </p:nvPr>
        </p:nvSpPr>
        <p:spPr/>
        <p:txBody>
          <a:bodyPr/>
          <a:lstStyle/>
          <a:p>
            <a:fld id="{9069FA75-E141-4E5C-8FA9-F44BDD9A26B0}" type="slidenum">
              <a:rPr lang="en-IN" smtClean="0"/>
              <a:t>‹#›</a:t>
            </a:fld>
            <a:endParaRPr lang="en-IN"/>
          </a:p>
        </p:txBody>
      </p:sp>
    </p:spTree>
    <p:extLst>
      <p:ext uri="{BB962C8B-B14F-4D97-AF65-F5344CB8AC3E}">
        <p14:creationId xmlns:p14="http://schemas.microsoft.com/office/powerpoint/2010/main" val="2568178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xml"/><Relationship Id="rId10" Type="http://schemas.openxmlformats.org/officeDocument/2006/relationships/slideLayout" Target="../slideLayouts/slideLayout21.xml"/><Relationship Id="rId19" Type="http://schemas.openxmlformats.org/officeDocument/2006/relationships/image" Target="../media/image3.jp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AE0D8C-68E2-4E7B-B0CC-1E52AF2256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CD805146-13CD-445D-8132-16651E4DEA3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13BF24B-26D6-469E-AC91-84BF47E36C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983375-9F00-410A-AA8A-2C9B308A78F3}" type="datetimeFigureOut">
              <a:rPr lang="en-IN" smtClean="0"/>
              <a:t>07-02-2022</a:t>
            </a:fld>
            <a:endParaRPr lang="en-IN"/>
          </a:p>
        </p:txBody>
      </p:sp>
      <p:sp>
        <p:nvSpPr>
          <p:cNvPr id="5" name="Footer Placeholder 4">
            <a:extLst>
              <a:ext uri="{FF2B5EF4-FFF2-40B4-BE49-F238E27FC236}">
                <a16:creationId xmlns:a16="http://schemas.microsoft.com/office/drawing/2014/main" id="{8B7937E6-A41E-463B-BB09-18262C799B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94327AD9-580A-4F42-B07A-5F74F65C26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69FA75-E141-4E5C-8FA9-F44BDD9A26B0}" type="slidenum">
              <a:rPr lang="en-IN" smtClean="0"/>
              <a:t>‹#›</a:t>
            </a:fld>
            <a:endParaRPr lang="en-IN"/>
          </a:p>
        </p:txBody>
      </p:sp>
    </p:spTree>
    <p:extLst>
      <p:ext uri="{BB962C8B-B14F-4D97-AF65-F5344CB8AC3E}">
        <p14:creationId xmlns:p14="http://schemas.microsoft.com/office/powerpoint/2010/main" val="10695317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extLst>
              <p:ext uri="{D42A27DB-BD31-4B8C-83A1-F6EECF244321}">
                <p14:modId xmlns:p14="http://schemas.microsoft.com/office/powerpoint/2010/main" val="178356171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16" imgW="360" imgH="360" progId="TCLayout.ActiveDocument.1">
                  <p:embed/>
                </p:oleObj>
              </mc:Choice>
              <mc:Fallback>
                <p:oleObj name="think-cell Slide" r:id="rId16" imgW="360" imgH="360" progId="TCLayout.ActiveDocument.1">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2"/>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l="-1" b="-732"/>
          <a:stretch/>
        </p:blipFill>
        <p:spPr bwMode="auto">
          <a:xfrm>
            <a:off x="10481733" y="8442930"/>
            <a:ext cx="1608667" cy="701071"/>
          </a:xfrm>
          <a:prstGeom prst="rect">
            <a:avLst/>
          </a:prstGeom>
          <a:noFill/>
          <a:ln w="9525">
            <a:noFill/>
            <a:miter lim="800000"/>
            <a:headEnd/>
            <a:tailEnd/>
          </a:ln>
        </p:spPr>
      </p:pic>
      <p:sp>
        <p:nvSpPr>
          <p:cNvPr id="3" name="Title Placeholder 2"/>
          <p:cNvSpPr>
            <a:spLocks noGrp="1"/>
          </p:cNvSpPr>
          <p:nvPr>
            <p:ph type="title"/>
          </p:nvPr>
        </p:nvSpPr>
        <p:spPr>
          <a:xfrm>
            <a:off x="609601" y="116451"/>
            <a:ext cx="10740303" cy="622300"/>
          </a:xfrm>
          <a:prstGeom prst="rect">
            <a:avLst/>
          </a:prstGeom>
        </p:spPr>
        <p:txBody>
          <a:bodyPr vert="horz" lIns="91440" tIns="45720" rIns="91440" bIns="45720" rtlCol="0" anchor="ctr">
            <a:noAutofit/>
          </a:bodyPr>
          <a:lstStyle/>
          <a:p>
            <a:r>
              <a:rPr lang="en-US"/>
              <a:t>Click to edit Master title style</a:t>
            </a:r>
            <a:endParaRPr lang="en-US" dirty="0"/>
          </a:p>
        </p:txBody>
      </p:sp>
      <p:cxnSp>
        <p:nvCxnSpPr>
          <p:cNvPr id="10" name="Straight Connector 9"/>
          <p:cNvCxnSpPr/>
          <p:nvPr/>
        </p:nvCxnSpPr>
        <p:spPr bwMode="auto">
          <a:xfrm flipH="1">
            <a:off x="609600" y="844144"/>
            <a:ext cx="10952480" cy="0"/>
          </a:xfrm>
          <a:prstGeom prst="line">
            <a:avLst/>
          </a:prstGeom>
          <a:ln w="28575">
            <a:solidFill>
              <a:schemeClr val="tx1">
                <a:lumMod val="65000"/>
                <a:lumOff val="35000"/>
                <a:alpha val="56000"/>
              </a:schemeClr>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4" name="Footer Placeholder 3"/>
          <p:cNvSpPr>
            <a:spLocks noGrp="1"/>
          </p:cNvSpPr>
          <p:nvPr>
            <p:ph type="ftr" sz="quarter" idx="3"/>
          </p:nvPr>
        </p:nvSpPr>
        <p:spPr>
          <a:xfrm>
            <a:off x="115957" y="6398703"/>
            <a:ext cx="4114800" cy="365125"/>
          </a:xfrm>
          <a:prstGeom prst="rect">
            <a:avLst/>
          </a:prstGeom>
        </p:spPr>
        <p:txBody>
          <a:bodyPr vert="horz" lIns="91440" tIns="45720" rIns="91440" bIns="45720" rtlCol="0" anchor="ctr"/>
          <a:lstStyle>
            <a:lvl1pPr algn="l">
              <a:defRPr sz="1200" i="1">
                <a:solidFill>
                  <a:schemeClr val="tx1">
                    <a:tint val="75000"/>
                  </a:schemeClr>
                </a:solidFill>
              </a:defRPr>
            </a:lvl1pPr>
          </a:lstStyle>
          <a:p>
            <a:r>
              <a:rPr lang="en-US" dirty="0"/>
              <a:t>Classified: Confidential</a:t>
            </a:r>
          </a:p>
        </p:txBody>
      </p:sp>
      <p:sp>
        <p:nvSpPr>
          <p:cNvPr id="7" name="Slide Number Placeholder 6"/>
          <p:cNvSpPr>
            <a:spLocks noGrp="1"/>
          </p:cNvSpPr>
          <p:nvPr>
            <p:ph type="sldNum" sz="quarter" idx="4"/>
          </p:nvPr>
        </p:nvSpPr>
        <p:spPr>
          <a:xfrm>
            <a:off x="4714240" y="6398702"/>
            <a:ext cx="2743200" cy="365125"/>
          </a:xfrm>
          <a:prstGeom prst="rect">
            <a:avLst/>
          </a:prstGeom>
        </p:spPr>
        <p:txBody>
          <a:bodyPr vert="horz" lIns="91440" tIns="45720" rIns="91440" bIns="45720" rtlCol="0" anchor="ctr"/>
          <a:lstStyle>
            <a:lvl1pPr algn="ctr">
              <a:defRPr sz="1200" i="1">
                <a:solidFill>
                  <a:schemeClr val="tx1">
                    <a:lumMod val="65000"/>
                    <a:lumOff val="35000"/>
                  </a:schemeClr>
                </a:solidFill>
              </a:defRPr>
            </a:lvl1pPr>
          </a:lstStyle>
          <a:p>
            <a:fld id="{5242C4DC-1FF5-472D-AB46-012295A93E1F}" type="slidenum">
              <a:rPr lang="en-US" smtClean="0"/>
              <a:t>‹#›</a:t>
            </a:fld>
            <a:endParaRPr lang="en-US"/>
          </a:p>
        </p:txBody>
      </p:sp>
      <p:grpSp>
        <p:nvGrpSpPr>
          <p:cNvPr id="16" name="Group 15"/>
          <p:cNvGrpSpPr/>
          <p:nvPr/>
        </p:nvGrpSpPr>
        <p:grpSpPr>
          <a:xfrm>
            <a:off x="11472861" y="116450"/>
            <a:ext cx="617539" cy="622300"/>
            <a:chOff x="4108846" y="1997013"/>
            <a:chExt cx="463154" cy="466725"/>
          </a:xfrm>
        </p:grpSpPr>
        <p:sp>
          <p:nvSpPr>
            <p:cNvPr id="17" name="Freeform 65"/>
            <p:cNvSpPr>
              <a:spLocks/>
            </p:cNvSpPr>
            <p:nvPr userDrawn="1"/>
          </p:nvSpPr>
          <p:spPr bwMode="auto">
            <a:xfrm>
              <a:off x="4108846" y="1997013"/>
              <a:ext cx="463154" cy="466725"/>
            </a:xfrm>
            <a:custGeom>
              <a:avLst/>
              <a:gdLst>
                <a:gd name="T0" fmla="*/ 982 w 982"/>
                <a:gd name="T1" fmla="*/ 491 h 982"/>
                <a:gd name="T2" fmla="*/ 982 w 982"/>
                <a:gd name="T3" fmla="*/ 491 h 982"/>
                <a:gd name="T4" fmla="*/ 491 w 982"/>
                <a:gd name="T5" fmla="*/ 982 h 982"/>
                <a:gd name="T6" fmla="*/ 0 w 982"/>
                <a:gd name="T7" fmla="*/ 491 h 982"/>
                <a:gd name="T8" fmla="*/ 491 w 982"/>
                <a:gd name="T9" fmla="*/ 0 h 982"/>
                <a:gd name="T10" fmla="*/ 982 w 982"/>
                <a:gd name="T11" fmla="*/ 491 h 982"/>
                <a:gd name="T12" fmla="*/ 982 w 982"/>
                <a:gd name="T13" fmla="*/ 491 h 982"/>
              </a:gdLst>
              <a:ahLst/>
              <a:cxnLst>
                <a:cxn ang="0">
                  <a:pos x="T0" y="T1"/>
                </a:cxn>
                <a:cxn ang="0">
                  <a:pos x="T2" y="T3"/>
                </a:cxn>
                <a:cxn ang="0">
                  <a:pos x="T4" y="T5"/>
                </a:cxn>
                <a:cxn ang="0">
                  <a:pos x="T6" y="T7"/>
                </a:cxn>
                <a:cxn ang="0">
                  <a:pos x="T8" y="T9"/>
                </a:cxn>
                <a:cxn ang="0">
                  <a:pos x="T10" y="T11"/>
                </a:cxn>
                <a:cxn ang="0">
                  <a:pos x="T12" y="T13"/>
                </a:cxn>
              </a:cxnLst>
              <a:rect l="0" t="0" r="r" b="b"/>
              <a:pathLst>
                <a:path w="982" h="982">
                  <a:moveTo>
                    <a:pt x="982" y="491"/>
                  </a:moveTo>
                  <a:lnTo>
                    <a:pt x="982" y="491"/>
                  </a:lnTo>
                  <a:cubicBezTo>
                    <a:pt x="982" y="762"/>
                    <a:pt x="762" y="982"/>
                    <a:pt x="491" y="982"/>
                  </a:cubicBezTo>
                  <a:cubicBezTo>
                    <a:pt x="220" y="982"/>
                    <a:pt x="0" y="762"/>
                    <a:pt x="0" y="491"/>
                  </a:cubicBezTo>
                  <a:cubicBezTo>
                    <a:pt x="0" y="220"/>
                    <a:pt x="220" y="0"/>
                    <a:pt x="491" y="0"/>
                  </a:cubicBezTo>
                  <a:cubicBezTo>
                    <a:pt x="762" y="0"/>
                    <a:pt x="982" y="220"/>
                    <a:pt x="982" y="491"/>
                  </a:cubicBezTo>
                  <a:lnTo>
                    <a:pt x="982" y="491"/>
                  </a:lnTo>
                  <a:close/>
                </a:path>
              </a:pathLst>
            </a:custGeom>
            <a:solidFill>
              <a:srgbClr val="E70419"/>
            </a:solidFill>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US" sz="1800"/>
            </a:p>
          </p:txBody>
        </p:sp>
        <p:sp>
          <p:nvSpPr>
            <p:cNvPr id="18" name="Freeform 66"/>
            <p:cNvSpPr>
              <a:spLocks/>
            </p:cNvSpPr>
            <p:nvPr userDrawn="1"/>
          </p:nvSpPr>
          <p:spPr bwMode="auto">
            <a:xfrm>
              <a:off x="4211201" y="2137704"/>
              <a:ext cx="195263" cy="189310"/>
            </a:xfrm>
            <a:custGeom>
              <a:avLst/>
              <a:gdLst>
                <a:gd name="T0" fmla="*/ 280 w 414"/>
                <a:gd name="T1" fmla="*/ 141 h 398"/>
                <a:gd name="T2" fmla="*/ 280 w 414"/>
                <a:gd name="T3" fmla="*/ 141 h 398"/>
                <a:gd name="T4" fmla="*/ 365 w 414"/>
                <a:gd name="T5" fmla="*/ 226 h 398"/>
                <a:gd name="T6" fmla="*/ 345 w 414"/>
                <a:gd name="T7" fmla="*/ 268 h 398"/>
                <a:gd name="T8" fmla="*/ 310 w 414"/>
                <a:gd name="T9" fmla="*/ 309 h 398"/>
                <a:gd name="T10" fmla="*/ 257 w 414"/>
                <a:gd name="T11" fmla="*/ 345 h 398"/>
                <a:gd name="T12" fmla="*/ 201 w 414"/>
                <a:gd name="T13" fmla="*/ 355 h 398"/>
                <a:gd name="T14" fmla="*/ 144 w 414"/>
                <a:gd name="T15" fmla="*/ 341 h 398"/>
                <a:gd name="T16" fmla="*/ 93 w 414"/>
                <a:gd name="T17" fmla="*/ 305 h 398"/>
                <a:gd name="T18" fmla="*/ 57 w 414"/>
                <a:gd name="T19" fmla="*/ 254 h 398"/>
                <a:gd name="T20" fmla="*/ 43 w 414"/>
                <a:gd name="T21" fmla="*/ 197 h 398"/>
                <a:gd name="T22" fmla="*/ 53 w 414"/>
                <a:gd name="T23" fmla="*/ 141 h 398"/>
                <a:gd name="T24" fmla="*/ 89 w 414"/>
                <a:gd name="T25" fmla="*/ 88 h 398"/>
                <a:gd name="T26" fmla="*/ 112 w 414"/>
                <a:gd name="T27" fmla="*/ 69 h 398"/>
                <a:gd name="T28" fmla="*/ 139 w 414"/>
                <a:gd name="T29" fmla="*/ 55 h 398"/>
                <a:gd name="T30" fmla="*/ 166 w 414"/>
                <a:gd name="T31" fmla="*/ 47 h 398"/>
                <a:gd name="T32" fmla="*/ 193 w 414"/>
                <a:gd name="T33" fmla="*/ 46 h 398"/>
                <a:gd name="T34" fmla="*/ 198 w 414"/>
                <a:gd name="T35" fmla="*/ 46 h 398"/>
                <a:gd name="T36" fmla="*/ 197 w 414"/>
                <a:gd name="T37" fmla="*/ 1 h 398"/>
                <a:gd name="T38" fmla="*/ 192 w 414"/>
                <a:gd name="T39" fmla="*/ 0 h 398"/>
                <a:gd name="T40" fmla="*/ 191 w 414"/>
                <a:gd name="T41" fmla="*/ 0 h 398"/>
                <a:gd name="T42" fmla="*/ 60 w 414"/>
                <a:gd name="T43" fmla="*/ 59 h 398"/>
                <a:gd name="T44" fmla="*/ 15 w 414"/>
                <a:gd name="T45" fmla="*/ 125 h 398"/>
                <a:gd name="T46" fmla="*/ 1 w 414"/>
                <a:gd name="T47" fmla="*/ 198 h 398"/>
                <a:gd name="T48" fmla="*/ 16 w 414"/>
                <a:gd name="T49" fmla="*/ 270 h 398"/>
                <a:gd name="T50" fmla="*/ 62 w 414"/>
                <a:gd name="T51" fmla="*/ 336 h 398"/>
                <a:gd name="T52" fmla="*/ 128 w 414"/>
                <a:gd name="T53" fmla="*/ 382 h 398"/>
                <a:gd name="T54" fmla="*/ 200 w 414"/>
                <a:gd name="T55" fmla="*/ 398 h 398"/>
                <a:gd name="T56" fmla="*/ 203 w 414"/>
                <a:gd name="T57" fmla="*/ 398 h 398"/>
                <a:gd name="T58" fmla="*/ 273 w 414"/>
                <a:gd name="T59" fmla="*/ 383 h 398"/>
                <a:gd name="T60" fmla="*/ 339 w 414"/>
                <a:gd name="T61" fmla="*/ 338 h 398"/>
                <a:gd name="T62" fmla="*/ 384 w 414"/>
                <a:gd name="T63" fmla="*/ 282 h 398"/>
                <a:gd name="T64" fmla="*/ 413 w 414"/>
                <a:gd name="T65" fmla="*/ 216 h 398"/>
                <a:gd name="T66" fmla="*/ 414 w 414"/>
                <a:gd name="T67" fmla="*/ 213 h 398"/>
                <a:gd name="T68" fmla="*/ 289 w 414"/>
                <a:gd name="T69" fmla="*/ 89 h 398"/>
                <a:gd name="T70" fmla="*/ 282 w 414"/>
                <a:gd name="T71" fmla="*/ 9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398">
                  <a:moveTo>
                    <a:pt x="280" y="141"/>
                  </a:moveTo>
                  <a:lnTo>
                    <a:pt x="280" y="141"/>
                  </a:lnTo>
                  <a:lnTo>
                    <a:pt x="365" y="226"/>
                  </a:lnTo>
                  <a:cubicBezTo>
                    <a:pt x="361" y="241"/>
                    <a:pt x="354" y="255"/>
                    <a:pt x="345" y="268"/>
                  </a:cubicBezTo>
                  <a:cubicBezTo>
                    <a:pt x="335" y="282"/>
                    <a:pt x="324" y="296"/>
                    <a:pt x="310" y="309"/>
                  </a:cubicBezTo>
                  <a:cubicBezTo>
                    <a:pt x="294" y="326"/>
                    <a:pt x="276" y="338"/>
                    <a:pt x="257" y="345"/>
                  </a:cubicBezTo>
                  <a:cubicBezTo>
                    <a:pt x="239" y="352"/>
                    <a:pt x="219" y="356"/>
                    <a:pt x="201" y="355"/>
                  </a:cubicBezTo>
                  <a:cubicBezTo>
                    <a:pt x="182" y="354"/>
                    <a:pt x="163" y="350"/>
                    <a:pt x="144" y="341"/>
                  </a:cubicBezTo>
                  <a:cubicBezTo>
                    <a:pt x="126" y="333"/>
                    <a:pt x="109" y="321"/>
                    <a:pt x="93" y="305"/>
                  </a:cubicBezTo>
                  <a:cubicBezTo>
                    <a:pt x="77" y="289"/>
                    <a:pt x="65" y="272"/>
                    <a:pt x="57" y="254"/>
                  </a:cubicBezTo>
                  <a:cubicBezTo>
                    <a:pt x="48" y="235"/>
                    <a:pt x="44" y="216"/>
                    <a:pt x="43" y="197"/>
                  </a:cubicBezTo>
                  <a:cubicBezTo>
                    <a:pt x="42" y="178"/>
                    <a:pt x="46" y="159"/>
                    <a:pt x="53" y="141"/>
                  </a:cubicBezTo>
                  <a:cubicBezTo>
                    <a:pt x="60" y="122"/>
                    <a:pt x="72" y="104"/>
                    <a:pt x="89" y="88"/>
                  </a:cubicBezTo>
                  <a:cubicBezTo>
                    <a:pt x="95" y="81"/>
                    <a:pt x="103" y="75"/>
                    <a:pt x="112" y="69"/>
                  </a:cubicBezTo>
                  <a:cubicBezTo>
                    <a:pt x="120" y="64"/>
                    <a:pt x="129" y="59"/>
                    <a:pt x="139" y="55"/>
                  </a:cubicBezTo>
                  <a:cubicBezTo>
                    <a:pt x="148" y="52"/>
                    <a:pt x="157" y="49"/>
                    <a:pt x="166" y="47"/>
                  </a:cubicBezTo>
                  <a:cubicBezTo>
                    <a:pt x="176" y="46"/>
                    <a:pt x="185" y="45"/>
                    <a:pt x="193" y="46"/>
                  </a:cubicBezTo>
                  <a:lnTo>
                    <a:pt x="198" y="46"/>
                  </a:lnTo>
                  <a:lnTo>
                    <a:pt x="197" y="1"/>
                  </a:lnTo>
                  <a:lnTo>
                    <a:pt x="192" y="0"/>
                  </a:lnTo>
                  <a:lnTo>
                    <a:pt x="191" y="0"/>
                  </a:lnTo>
                  <a:cubicBezTo>
                    <a:pt x="143" y="0"/>
                    <a:pt x="99" y="20"/>
                    <a:pt x="60" y="59"/>
                  </a:cubicBezTo>
                  <a:cubicBezTo>
                    <a:pt x="40" y="79"/>
                    <a:pt x="25" y="102"/>
                    <a:pt x="15" y="125"/>
                  </a:cubicBezTo>
                  <a:cubicBezTo>
                    <a:pt x="5" y="149"/>
                    <a:pt x="0" y="173"/>
                    <a:pt x="1" y="198"/>
                  </a:cubicBezTo>
                  <a:cubicBezTo>
                    <a:pt x="1" y="222"/>
                    <a:pt x="6" y="246"/>
                    <a:pt x="16" y="270"/>
                  </a:cubicBezTo>
                  <a:cubicBezTo>
                    <a:pt x="27" y="294"/>
                    <a:pt x="42" y="316"/>
                    <a:pt x="62" y="336"/>
                  </a:cubicBezTo>
                  <a:cubicBezTo>
                    <a:pt x="82" y="356"/>
                    <a:pt x="104" y="371"/>
                    <a:pt x="128" y="382"/>
                  </a:cubicBezTo>
                  <a:cubicBezTo>
                    <a:pt x="152" y="392"/>
                    <a:pt x="176" y="397"/>
                    <a:pt x="200" y="398"/>
                  </a:cubicBezTo>
                  <a:cubicBezTo>
                    <a:pt x="201" y="398"/>
                    <a:pt x="202" y="398"/>
                    <a:pt x="203" y="398"/>
                  </a:cubicBezTo>
                  <a:cubicBezTo>
                    <a:pt x="227" y="398"/>
                    <a:pt x="250" y="393"/>
                    <a:pt x="273" y="383"/>
                  </a:cubicBezTo>
                  <a:cubicBezTo>
                    <a:pt x="296" y="373"/>
                    <a:pt x="319" y="358"/>
                    <a:pt x="339" y="338"/>
                  </a:cubicBezTo>
                  <a:cubicBezTo>
                    <a:pt x="356" y="321"/>
                    <a:pt x="371" y="302"/>
                    <a:pt x="384" y="282"/>
                  </a:cubicBezTo>
                  <a:cubicBezTo>
                    <a:pt x="396" y="262"/>
                    <a:pt x="406" y="240"/>
                    <a:pt x="413" y="216"/>
                  </a:cubicBezTo>
                  <a:lnTo>
                    <a:pt x="414" y="213"/>
                  </a:lnTo>
                  <a:lnTo>
                    <a:pt x="289" y="89"/>
                  </a:lnTo>
                  <a:lnTo>
                    <a:pt x="282" y="95"/>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 name="Freeform 67"/>
            <p:cNvSpPr>
              <a:spLocks/>
            </p:cNvSpPr>
            <p:nvPr userDrawn="1"/>
          </p:nvSpPr>
          <p:spPr bwMode="auto">
            <a:xfrm>
              <a:off x="4289550" y="2135720"/>
              <a:ext cx="195263" cy="189310"/>
            </a:xfrm>
            <a:custGeom>
              <a:avLst/>
              <a:gdLst>
                <a:gd name="T0" fmla="*/ 134 w 414"/>
                <a:gd name="T1" fmla="*/ 256 h 397"/>
                <a:gd name="T2" fmla="*/ 134 w 414"/>
                <a:gd name="T3" fmla="*/ 256 h 397"/>
                <a:gd name="T4" fmla="*/ 49 w 414"/>
                <a:gd name="T5" fmla="*/ 171 h 397"/>
                <a:gd name="T6" fmla="*/ 69 w 414"/>
                <a:gd name="T7" fmla="*/ 130 h 397"/>
                <a:gd name="T8" fmla="*/ 104 w 414"/>
                <a:gd name="T9" fmla="*/ 88 h 397"/>
                <a:gd name="T10" fmla="*/ 157 w 414"/>
                <a:gd name="T11" fmla="*/ 53 h 397"/>
                <a:gd name="T12" fmla="*/ 213 w 414"/>
                <a:gd name="T13" fmla="*/ 43 h 397"/>
                <a:gd name="T14" fmla="*/ 270 w 414"/>
                <a:gd name="T15" fmla="*/ 56 h 397"/>
                <a:gd name="T16" fmla="*/ 321 w 414"/>
                <a:gd name="T17" fmla="*/ 93 h 397"/>
                <a:gd name="T18" fmla="*/ 357 w 414"/>
                <a:gd name="T19" fmla="*/ 144 h 397"/>
                <a:gd name="T20" fmla="*/ 371 w 414"/>
                <a:gd name="T21" fmla="*/ 200 h 397"/>
                <a:gd name="T22" fmla="*/ 361 w 414"/>
                <a:gd name="T23" fmla="*/ 257 h 397"/>
                <a:gd name="T24" fmla="*/ 325 w 414"/>
                <a:gd name="T25" fmla="*/ 310 h 397"/>
                <a:gd name="T26" fmla="*/ 302 w 414"/>
                <a:gd name="T27" fmla="*/ 328 h 397"/>
                <a:gd name="T28" fmla="*/ 275 w 414"/>
                <a:gd name="T29" fmla="*/ 342 h 397"/>
                <a:gd name="T30" fmla="*/ 248 w 414"/>
                <a:gd name="T31" fmla="*/ 350 h 397"/>
                <a:gd name="T32" fmla="*/ 221 w 414"/>
                <a:gd name="T33" fmla="*/ 352 h 397"/>
                <a:gd name="T34" fmla="*/ 216 w 414"/>
                <a:gd name="T35" fmla="*/ 351 h 397"/>
                <a:gd name="T36" fmla="*/ 217 w 414"/>
                <a:gd name="T37" fmla="*/ 397 h 397"/>
                <a:gd name="T38" fmla="*/ 222 w 414"/>
                <a:gd name="T39" fmla="*/ 397 h 397"/>
                <a:gd name="T40" fmla="*/ 223 w 414"/>
                <a:gd name="T41" fmla="*/ 397 h 397"/>
                <a:gd name="T42" fmla="*/ 354 w 414"/>
                <a:gd name="T43" fmla="*/ 338 h 397"/>
                <a:gd name="T44" fmla="*/ 399 w 414"/>
                <a:gd name="T45" fmla="*/ 272 h 397"/>
                <a:gd name="T46" fmla="*/ 413 w 414"/>
                <a:gd name="T47" fmla="*/ 200 h 397"/>
                <a:gd name="T48" fmla="*/ 398 w 414"/>
                <a:gd name="T49" fmla="*/ 128 h 397"/>
                <a:gd name="T50" fmla="*/ 352 w 414"/>
                <a:gd name="T51" fmla="*/ 62 h 397"/>
                <a:gd name="T52" fmla="*/ 286 w 414"/>
                <a:gd name="T53" fmla="*/ 16 h 397"/>
                <a:gd name="T54" fmla="*/ 214 w 414"/>
                <a:gd name="T55" fmla="*/ 0 h 397"/>
                <a:gd name="T56" fmla="*/ 141 w 414"/>
                <a:gd name="T57" fmla="*/ 14 h 397"/>
                <a:gd name="T58" fmla="*/ 75 w 414"/>
                <a:gd name="T59" fmla="*/ 60 h 397"/>
                <a:gd name="T60" fmla="*/ 30 w 414"/>
                <a:gd name="T61" fmla="*/ 115 h 397"/>
                <a:gd name="T62" fmla="*/ 1 w 414"/>
                <a:gd name="T63" fmla="*/ 182 h 397"/>
                <a:gd name="T64" fmla="*/ 0 w 414"/>
                <a:gd name="T65" fmla="*/ 184 h 397"/>
                <a:gd name="T66" fmla="*/ 125 w 414"/>
                <a:gd name="T67" fmla="*/ 309 h 397"/>
                <a:gd name="T68" fmla="*/ 132 w 414"/>
                <a:gd name="T69" fmla="*/ 302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4" h="397">
                  <a:moveTo>
                    <a:pt x="134" y="256"/>
                  </a:moveTo>
                  <a:lnTo>
                    <a:pt x="134" y="256"/>
                  </a:lnTo>
                  <a:lnTo>
                    <a:pt x="49" y="171"/>
                  </a:lnTo>
                  <a:cubicBezTo>
                    <a:pt x="53" y="157"/>
                    <a:pt x="60" y="143"/>
                    <a:pt x="69" y="130"/>
                  </a:cubicBezTo>
                  <a:cubicBezTo>
                    <a:pt x="79" y="116"/>
                    <a:pt x="90" y="102"/>
                    <a:pt x="104" y="88"/>
                  </a:cubicBezTo>
                  <a:cubicBezTo>
                    <a:pt x="120" y="72"/>
                    <a:pt x="138" y="60"/>
                    <a:pt x="157" y="53"/>
                  </a:cubicBezTo>
                  <a:cubicBezTo>
                    <a:pt x="175" y="45"/>
                    <a:pt x="195" y="42"/>
                    <a:pt x="213" y="43"/>
                  </a:cubicBezTo>
                  <a:cubicBezTo>
                    <a:pt x="232" y="43"/>
                    <a:pt x="251" y="48"/>
                    <a:pt x="270" y="56"/>
                  </a:cubicBezTo>
                  <a:cubicBezTo>
                    <a:pt x="288" y="65"/>
                    <a:pt x="305" y="77"/>
                    <a:pt x="321" y="93"/>
                  </a:cubicBezTo>
                  <a:cubicBezTo>
                    <a:pt x="337" y="108"/>
                    <a:pt x="349" y="126"/>
                    <a:pt x="357" y="144"/>
                  </a:cubicBezTo>
                  <a:cubicBezTo>
                    <a:pt x="366" y="162"/>
                    <a:pt x="370" y="181"/>
                    <a:pt x="371" y="200"/>
                  </a:cubicBezTo>
                  <a:cubicBezTo>
                    <a:pt x="372" y="219"/>
                    <a:pt x="368" y="238"/>
                    <a:pt x="361" y="257"/>
                  </a:cubicBezTo>
                  <a:cubicBezTo>
                    <a:pt x="354" y="276"/>
                    <a:pt x="342" y="293"/>
                    <a:pt x="325" y="310"/>
                  </a:cubicBezTo>
                  <a:cubicBezTo>
                    <a:pt x="319" y="317"/>
                    <a:pt x="311" y="323"/>
                    <a:pt x="302" y="328"/>
                  </a:cubicBezTo>
                  <a:cubicBezTo>
                    <a:pt x="294" y="334"/>
                    <a:pt x="285" y="338"/>
                    <a:pt x="275" y="342"/>
                  </a:cubicBezTo>
                  <a:cubicBezTo>
                    <a:pt x="266" y="346"/>
                    <a:pt x="257" y="349"/>
                    <a:pt x="248" y="350"/>
                  </a:cubicBezTo>
                  <a:cubicBezTo>
                    <a:pt x="238" y="352"/>
                    <a:pt x="229" y="352"/>
                    <a:pt x="221" y="352"/>
                  </a:cubicBezTo>
                  <a:lnTo>
                    <a:pt x="216" y="351"/>
                  </a:lnTo>
                  <a:lnTo>
                    <a:pt x="217" y="397"/>
                  </a:lnTo>
                  <a:lnTo>
                    <a:pt x="222" y="397"/>
                  </a:lnTo>
                  <a:lnTo>
                    <a:pt x="223" y="397"/>
                  </a:lnTo>
                  <a:cubicBezTo>
                    <a:pt x="271" y="397"/>
                    <a:pt x="315" y="377"/>
                    <a:pt x="354" y="338"/>
                  </a:cubicBezTo>
                  <a:cubicBezTo>
                    <a:pt x="374" y="318"/>
                    <a:pt x="389" y="296"/>
                    <a:pt x="399" y="272"/>
                  </a:cubicBezTo>
                  <a:cubicBezTo>
                    <a:pt x="409" y="248"/>
                    <a:pt x="414" y="224"/>
                    <a:pt x="413" y="200"/>
                  </a:cubicBezTo>
                  <a:cubicBezTo>
                    <a:pt x="413" y="176"/>
                    <a:pt x="408" y="151"/>
                    <a:pt x="398" y="128"/>
                  </a:cubicBezTo>
                  <a:cubicBezTo>
                    <a:pt x="387" y="104"/>
                    <a:pt x="372" y="82"/>
                    <a:pt x="352" y="62"/>
                  </a:cubicBezTo>
                  <a:cubicBezTo>
                    <a:pt x="332" y="42"/>
                    <a:pt x="310" y="26"/>
                    <a:pt x="286" y="16"/>
                  </a:cubicBezTo>
                  <a:cubicBezTo>
                    <a:pt x="262" y="6"/>
                    <a:pt x="238" y="0"/>
                    <a:pt x="214" y="0"/>
                  </a:cubicBezTo>
                  <a:cubicBezTo>
                    <a:pt x="189" y="0"/>
                    <a:pt x="165" y="4"/>
                    <a:pt x="141" y="14"/>
                  </a:cubicBezTo>
                  <a:cubicBezTo>
                    <a:pt x="118" y="24"/>
                    <a:pt x="95" y="40"/>
                    <a:pt x="75" y="60"/>
                  </a:cubicBezTo>
                  <a:cubicBezTo>
                    <a:pt x="58" y="77"/>
                    <a:pt x="43" y="95"/>
                    <a:pt x="30" y="115"/>
                  </a:cubicBezTo>
                  <a:cubicBezTo>
                    <a:pt x="18" y="135"/>
                    <a:pt x="8" y="158"/>
                    <a:pt x="1" y="182"/>
                  </a:cubicBezTo>
                  <a:lnTo>
                    <a:pt x="0" y="184"/>
                  </a:lnTo>
                  <a:lnTo>
                    <a:pt x="125" y="309"/>
                  </a:lnTo>
                  <a:lnTo>
                    <a:pt x="132" y="302"/>
                  </a:ln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grpSp>
      <p:pic>
        <p:nvPicPr>
          <p:cNvPr id="2" name="Picture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531686" y="6211322"/>
            <a:ext cx="1508760" cy="548640"/>
          </a:xfrm>
          <a:prstGeom prst="rect">
            <a:avLst/>
          </a:prstGeom>
        </p:spPr>
      </p:pic>
    </p:spTree>
    <p:extLst>
      <p:ext uri="{BB962C8B-B14F-4D97-AF65-F5344CB8AC3E}">
        <p14:creationId xmlns:p14="http://schemas.microsoft.com/office/powerpoint/2010/main" val="17069648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dt="0"/>
  <p:txStyles>
    <p:titleStyle>
      <a:lvl1pPr algn="l" defTabSz="1219140" rtl="0" eaLnBrk="1" latinLnBrk="0" hangingPunct="1">
        <a:lnSpc>
          <a:spcPts val="3200"/>
        </a:lnSpc>
        <a:spcBef>
          <a:spcPct val="0"/>
        </a:spcBef>
        <a:buNone/>
        <a:defRPr sz="3200" b="1" kern="1200">
          <a:solidFill>
            <a:schemeClr val="tx1">
              <a:lumMod val="65000"/>
              <a:lumOff val="35000"/>
            </a:schemeClr>
          </a:solidFill>
          <a:effectLst/>
          <a:latin typeface="+mj-lt"/>
          <a:ea typeface="+mj-ea"/>
          <a:cs typeface="+mj-cs"/>
        </a:defRPr>
      </a:lvl1pPr>
    </p:titleStyle>
    <p:bodyStyle>
      <a:lvl1pPr marL="457178" indent="-457178" algn="l" defTabSz="121914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90A62-FD54-46FD-A888-CCBDD83BAA90}"/>
              </a:ext>
            </a:extLst>
          </p:cNvPr>
          <p:cNvSpPr>
            <a:spLocks noGrp="1"/>
          </p:cNvSpPr>
          <p:nvPr>
            <p:ph type="ctrTitle"/>
          </p:nvPr>
        </p:nvSpPr>
        <p:spPr/>
        <p:txBody>
          <a:bodyPr/>
          <a:lstStyle/>
          <a:p>
            <a:endParaRPr lang="en-IN"/>
          </a:p>
        </p:txBody>
      </p:sp>
      <p:sp>
        <p:nvSpPr>
          <p:cNvPr id="3" name="Subtitle 2">
            <a:extLst>
              <a:ext uri="{FF2B5EF4-FFF2-40B4-BE49-F238E27FC236}">
                <a16:creationId xmlns:a16="http://schemas.microsoft.com/office/drawing/2014/main" id="{B79AE5A9-9957-4E80-8429-02A55DD28F1E}"/>
              </a:ext>
            </a:extLst>
          </p:cNvPr>
          <p:cNvSpPr>
            <a:spLocks noGrp="1"/>
          </p:cNvSpPr>
          <p:nvPr>
            <p:ph type="subTitle" idx="1"/>
          </p:nvPr>
        </p:nvSpPr>
        <p:spPr/>
        <p:txBody>
          <a:bodyPr/>
          <a:lstStyle/>
          <a:p>
            <a:endParaRPr lang="en-IN"/>
          </a:p>
        </p:txBody>
      </p:sp>
    </p:spTree>
    <p:extLst>
      <p:ext uri="{BB962C8B-B14F-4D97-AF65-F5344CB8AC3E}">
        <p14:creationId xmlns:p14="http://schemas.microsoft.com/office/powerpoint/2010/main" val="29302424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nergy is “baked in” to multiplicative volume form</a:t>
            </a:r>
          </a:p>
        </p:txBody>
      </p:sp>
      <p:sp>
        <p:nvSpPr>
          <p:cNvPr id="3" name="Footer Placeholder 2"/>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tint val="75000"/>
                  </a:prstClr>
                </a:solidFill>
                <a:effectLst/>
                <a:uLnTx/>
                <a:uFillTx/>
                <a:latin typeface="Arial"/>
                <a:ea typeface="+mn-ea"/>
                <a:cs typeface="+mn-cs"/>
              </a:rPr>
              <a:t>Classified: Confidential</a:t>
            </a:r>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242C4DC-1FF5-472D-AB46-012295A93E1F}" type="slidenum">
              <a:rPr kumimoji="0" lang="en-US" sz="1200" b="0" i="1"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200" b="0" i="1"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
        <p:nvSpPr>
          <p:cNvPr id="5" name="TextBox 4"/>
          <p:cNvSpPr txBox="1"/>
          <p:nvPr/>
        </p:nvSpPr>
        <p:spPr>
          <a:xfrm>
            <a:off x="511628" y="979714"/>
            <a:ext cx="6667274"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Log(volume) = beta1*covariate1 + beta1 * covariate2 +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Volume = </a:t>
            </a:r>
            <a:r>
              <a:rPr kumimoji="0" lang="en-US" sz="1800" b="0" i="0" u="none" strike="noStrike" kern="1200" cap="none" spc="0" normalizeH="0" baseline="0" noProof="0" dirty="0" err="1">
                <a:ln>
                  <a:noFill/>
                </a:ln>
                <a:solidFill>
                  <a:prstClr val="black"/>
                </a:solidFill>
                <a:effectLst/>
                <a:uLnTx/>
                <a:uFillTx/>
                <a:latin typeface="Arial"/>
                <a:ea typeface="+mn-ea"/>
                <a:cs typeface="+mn-cs"/>
              </a:rPr>
              <a:t>exp</a:t>
            </a:r>
            <a:r>
              <a:rPr kumimoji="0" lang="en-US" sz="1800" b="0" i="0" u="none" strike="noStrike" kern="1200" cap="none" spc="0" normalizeH="0" baseline="0" noProof="0" dirty="0">
                <a:ln>
                  <a:noFill/>
                </a:ln>
                <a:solidFill>
                  <a:prstClr val="black"/>
                </a:solidFill>
                <a:effectLst/>
                <a:uLnTx/>
                <a:uFillTx/>
                <a:latin typeface="Arial"/>
                <a:ea typeface="+mn-ea"/>
                <a:cs typeface="+mn-cs"/>
              </a:rPr>
              <a:t>(beta1*covariate1) * </a:t>
            </a:r>
            <a:r>
              <a:rPr kumimoji="0" lang="en-US" sz="1800" b="0" i="0" u="none" strike="noStrike" kern="1200" cap="none" spc="0" normalizeH="0" baseline="0" noProof="0" dirty="0" err="1">
                <a:ln>
                  <a:noFill/>
                </a:ln>
                <a:solidFill>
                  <a:prstClr val="black"/>
                </a:solidFill>
                <a:effectLst/>
                <a:uLnTx/>
                <a:uFillTx/>
                <a:latin typeface="Arial"/>
                <a:ea typeface="+mn-ea"/>
                <a:cs typeface="+mn-cs"/>
              </a:rPr>
              <a:t>exp</a:t>
            </a:r>
            <a:r>
              <a:rPr kumimoji="0" lang="en-US" sz="1800" b="0" i="0" u="none" strike="noStrike" kern="1200" cap="none" spc="0" normalizeH="0" baseline="0" noProof="0" dirty="0">
                <a:ln>
                  <a:noFill/>
                </a:ln>
                <a:solidFill>
                  <a:prstClr val="black"/>
                </a:solidFill>
                <a:effectLst/>
                <a:uLnTx/>
                <a:uFillTx/>
                <a:latin typeface="Arial"/>
                <a:ea typeface="+mn-ea"/>
                <a:cs typeface="+mn-cs"/>
              </a:rPr>
              <a:t>(beta1 * covariate 2) * etc.</a:t>
            </a:r>
          </a:p>
        </p:txBody>
      </p:sp>
      <p:pic>
        <p:nvPicPr>
          <p:cNvPr id="7" name="Picture 6"/>
          <p:cNvPicPr>
            <a:picLocks noChangeAspect="1"/>
          </p:cNvPicPr>
          <p:nvPr/>
        </p:nvPicPr>
        <p:blipFill>
          <a:blip r:embed="rId2"/>
          <a:stretch>
            <a:fillRect/>
          </a:stretch>
        </p:blipFill>
        <p:spPr>
          <a:xfrm>
            <a:off x="5306787" y="1744897"/>
            <a:ext cx="1197430" cy="1235358"/>
          </a:xfrm>
          <a:prstGeom prst="rect">
            <a:avLst/>
          </a:prstGeom>
        </p:spPr>
      </p:pic>
      <p:graphicFrame>
        <p:nvGraphicFramePr>
          <p:cNvPr id="8" name="Group 4"/>
          <p:cNvGraphicFramePr>
            <a:graphicFrameLocks/>
          </p:cNvGraphicFramePr>
          <p:nvPr/>
        </p:nvGraphicFramePr>
        <p:xfrm>
          <a:off x="228600" y="2891311"/>
          <a:ext cx="10489933" cy="3121660"/>
        </p:xfrm>
        <a:graphic>
          <a:graphicData uri="http://schemas.openxmlformats.org/drawingml/2006/table">
            <a:tbl>
              <a:tblPr/>
              <a:tblGrid>
                <a:gridCol w="3722914">
                  <a:extLst>
                    <a:ext uri="{9D8B030D-6E8A-4147-A177-3AD203B41FA5}">
                      <a16:colId xmlns:a16="http://schemas.microsoft.com/office/drawing/2014/main" val="20000"/>
                    </a:ext>
                  </a:extLst>
                </a:gridCol>
                <a:gridCol w="884418">
                  <a:extLst>
                    <a:ext uri="{9D8B030D-6E8A-4147-A177-3AD203B41FA5}">
                      <a16:colId xmlns:a16="http://schemas.microsoft.com/office/drawing/2014/main" val="20001"/>
                    </a:ext>
                  </a:extLst>
                </a:gridCol>
                <a:gridCol w="675919">
                  <a:extLst>
                    <a:ext uri="{9D8B030D-6E8A-4147-A177-3AD203B41FA5}">
                      <a16:colId xmlns:a16="http://schemas.microsoft.com/office/drawing/2014/main" val="20002"/>
                    </a:ext>
                  </a:extLst>
                </a:gridCol>
                <a:gridCol w="1491772">
                  <a:extLst>
                    <a:ext uri="{9D8B030D-6E8A-4147-A177-3AD203B41FA5}">
                      <a16:colId xmlns:a16="http://schemas.microsoft.com/office/drawing/2014/main" val="20003"/>
                    </a:ext>
                  </a:extLst>
                </a:gridCol>
                <a:gridCol w="842256">
                  <a:extLst>
                    <a:ext uri="{9D8B030D-6E8A-4147-A177-3AD203B41FA5}">
                      <a16:colId xmlns:a16="http://schemas.microsoft.com/office/drawing/2014/main" val="20004"/>
                    </a:ext>
                  </a:extLst>
                </a:gridCol>
                <a:gridCol w="1436327">
                  <a:extLst>
                    <a:ext uri="{9D8B030D-6E8A-4147-A177-3AD203B41FA5}">
                      <a16:colId xmlns:a16="http://schemas.microsoft.com/office/drawing/2014/main" val="20005"/>
                    </a:ext>
                  </a:extLst>
                </a:gridCol>
                <a:gridCol w="1436327">
                  <a:extLst>
                    <a:ext uri="{9D8B030D-6E8A-4147-A177-3AD203B41FA5}">
                      <a16:colId xmlns:a16="http://schemas.microsoft.com/office/drawing/2014/main" val="20006"/>
                    </a:ext>
                  </a:extLst>
                </a:gridCol>
              </a:tblGrid>
              <a:tr h="6064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People</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800" b="0" i="0" u="none" strike="noStrike" cap="none" normalizeH="0" baseline="0" dirty="0">
                          <a:ln>
                            <a:noFill/>
                          </a:ln>
                          <a:solidFill>
                            <a:schemeClr val="tx1"/>
                          </a:solidFill>
                          <a:effectLst/>
                          <a:latin typeface="Arial" charset="0"/>
                        </a:rPr>
                        <a:t>Drinks Each</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Total Drinks</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Raw DueTo Bucket</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952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Weekend 1</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6</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3</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8</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24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Weekend 2</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8</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4</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32</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7463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a:ln>
                            <a:noFill/>
                          </a:ln>
                          <a:solidFill>
                            <a:schemeClr val="tx1"/>
                          </a:solidFill>
                          <a:effectLst/>
                          <a:latin typeface="Arial" charset="0"/>
                        </a:rPr>
                        <a:t>Change:</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2</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1" i="0" u="none" strike="noStrike" cap="none" normalizeH="0" baseline="0" dirty="0">
                        <a:ln>
                          <a:noFill/>
                        </a:ln>
                        <a:solidFill>
                          <a:schemeClr val="bg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32-18=14</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Change DueTo # people</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8</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3</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24</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24-18=6</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667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Change DueTo # drinks per person</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6</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4</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24</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24-18=6</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36575">
                <a:tc gridSpan="6">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Sum of raw DueTo buckets</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1"/>
                          </a:solidFill>
                          <a:effectLst/>
                          <a:latin typeface="Arial" charset="0"/>
                        </a:rPr>
                        <a:t>6+6=12</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solidFill>
                  </a:tcPr>
                </a:tc>
                <a:extLst>
                  <a:ext uri="{0D108BD9-81ED-4DB2-BD59-A6C34878D82A}">
                    <a16:rowId xmlns:a16="http://schemas.microsoft.com/office/drawing/2014/main" val="10006"/>
                  </a:ext>
                </a:extLst>
              </a:tr>
            </a:tbl>
          </a:graphicData>
        </a:graphic>
      </p:graphicFrame>
      <p:pic>
        <p:nvPicPr>
          <p:cNvPr id="9" name="Picture 8"/>
          <p:cNvPicPr>
            <a:picLocks noChangeAspect="1"/>
          </p:cNvPicPr>
          <p:nvPr/>
        </p:nvPicPr>
        <p:blipFill>
          <a:blip r:embed="rId3"/>
          <a:stretch>
            <a:fillRect/>
          </a:stretch>
        </p:blipFill>
        <p:spPr>
          <a:xfrm>
            <a:off x="3738007" y="1686303"/>
            <a:ext cx="1189014" cy="1205008"/>
          </a:xfrm>
          <a:prstGeom prst="rect">
            <a:avLst/>
          </a:prstGeom>
        </p:spPr>
      </p:pic>
      <p:sp>
        <p:nvSpPr>
          <p:cNvPr id="10" name="Text Box 100"/>
          <p:cNvSpPr txBox="1">
            <a:spLocks noChangeArrowheads="1"/>
          </p:cNvSpPr>
          <p:nvPr/>
        </p:nvSpPr>
        <p:spPr bwMode="gray">
          <a:xfrm>
            <a:off x="8292548" y="6012971"/>
            <a:ext cx="2425985" cy="384721"/>
          </a:xfrm>
          <a:prstGeom prst="rect">
            <a:avLst/>
          </a:prstGeom>
          <a:noFill/>
          <a:ln w="9525" algn="ctr">
            <a:solidFill>
              <a:schemeClr val="tx1"/>
            </a:solidFill>
            <a:miter lim="800000"/>
            <a:headEnd/>
            <a:tailEnd/>
          </a:ln>
        </p:spPr>
        <p:txBody>
          <a:bodyPr wrap="none" l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prstClr val="black"/>
                </a:solidFill>
                <a:effectLst/>
                <a:uLnTx/>
                <a:uFillTx/>
                <a:latin typeface="Arial"/>
                <a:ea typeface="+mn-ea"/>
                <a:cs typeface="+mn-cs"/>
              </a:rPr>
              <a:t>Synergy: 12 - 14 = 2</a:t>
            </a:r>
          </a:p>
        </p:txBody>
      </p:sp>
      <p:cxnSp>
        <p:nvCxnSpPr>
          <p:cNvPr id="11" name="Curved Connector 10"/>
          <p:cNvCxnSpPr>
            <a:stCxn id="10" idx="3"/>
          </p:cNvCxnSpPr>
          <p:nvPr/>
        </p:nvCxnSpPr>
        <p:spPr>
          <a:xfrm flipV="1">
            <a:off x="10718533" y="4800600"/>
            <a:ext cx="12700" cy="1404732"/>
          </a:xfrm>
          <a:prstGeom prst="curvedConnector4">
            <a:avLst>
              <a:gd name="adj1" fmla="val 7542858"/>
              <a:gd name="adj2" fmla="val 9869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urved Connector 13"/>
          <p:cNvCxnSpPr>
            <a:stCxn id="10" idx="3"/>
          </p:cNvCxnSpPr>
          <p:nvPr/>
        </p:nvCxnSpPr>
        <p:spPr>
          <a:xfrm flipV="1">
            <a:off x="10718533" y="5145360"/>
            <a:ext cx="12700" cy="1059972"/>
          </a:xfrm>
          <a:prstGeom prst="curvedConnector4">
            <a:avLst>
              <a:gd name="adj1" fmla="val 3771433"/>
              <a:gd name="adj2" fmla="val 106316"/>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0902346" y="4615934"/>
            <a:ext cx="4475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2</a:t>
            </a:r>
          </a:p>
        </p:txBody>
      </p:sp>
      <p:sp>
        <p:nvSpPr>
          <p:cNvPr id="22" name="TextBox 21"/>
          <p:cNvSpPr txBox="1"/>
          <p:nvPr/>
        </p:nvSpPr>
        <p:spPr>
          <a:xfrm>
            <a:off x="11022089" y="5151823"/>
            <a:ext cx="4475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2</a:t>
            </a:r>
          </a:p>
        </p:txBody>
      </p:sp>
    </p:spTree>
    <p:extLst>
      <p:ext uri="{BB962C8B-B14F-4D97-AF65-F5344CB8AC3E}">
        <p14:creationId xmlns:p14="http://schemas.microsoft.com/office/powerpoint/2010/main" val="2483778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icative models have a synergy component to be managed when computing decomps and </a:t>
            </a:r>
            <a:r>
              <a:rPr lang="en-US" dirty="0" err="1"/>
              <a:t>duetos</a:t>
            </a:r>
            <a:endParaRPr lang="en-US" dirty="0"/>
          </a:p>
        </p:txBody>
      </p:sp>
      <p:sp>
        <p:nvSpPr>
          <p:cNvPr id="3" name="Footer Placeholder 2"/>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tint val="75000"/>
                  </a:prstClr>
                </a:solidFill>
                <a:effectLst/>
                <a:uLnTx/>
                <a:uFillTx/>
                <a:latin typeface="Arial"/>
                <a:ea typeface="+mn-ea"/>
                <a:cs typeface="+mn-cs"/>
              </a:rPr>
              <a:t>Classified: Confidential</a:t>
            </a:r>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242C4DC-1FF5-472D-AB46-012295A93E1F}" type="slidenum">
              <a:rPr kumimoji="0" lang="en-US" sz="1200" b="0" i="1"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200" b="0" i="1"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
        <p:nvSpPr>
          <p:cNvPr id="5" name="Rectangle 3"/>
          <p:cNvSpPr txBox="1">
            <a:spLocks noChangeArrowheads="1"/>
          </p:cNvSpPr>
          <p:nvPr/>
        </p:nvSpPr>
        <p:spPr>
          <a:xfrm>
            <a:off x="457200" y="1143000"/>
            <a:ext cx="7543800" cy="4983163"/>
          </a:xfrm>
          <a:prstGeom prst="rect">
            <a:avLst/>
          </a:prstGeom>
        </p:spPr>
        <p:txBody>
          <a:bodyPr/>
          <a:lstStyle>
            <a:lvl1pPr marL="457178" indent="-457178" algn="l" defTabSz="121914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178" marR="0" lvl="0" indent="-457178" algn="l" defTabSz="121914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Here is an subtractive DueTo example:</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6" name="Group 4"/>
          <p:cNvGraphicFramePr>
            <a:graphicFrameLocks/>
          </p:cNvGraphicFramePr>
          <p:nvPr/>
        </p:nvGraphicFramePr>
        <p:xfrm>
          <a:off x="838200" y="2200275"/>
          <a:ext cx="7772400" cy="3568193"/>
        </p:xfrm>
        <a:graphic>
          <a:graphicData uri="http://schemas.openxmlformats.org/drawingml/2006/table">
            <a:tbl>
              <a:tblPr/>
              <a:tblGrid>
                <a:gridCol w="2036763">
                  <a:extLst>
                    <a:ext uri="{9D8B030D-6E8A-4147-A177-3AD203B41FA5}">
                      <a16:colId xmlns:a16="http://schemas.microsoft.com/office/drawing/2014/main" val="20000"/>
                    </a:ext>
                  </a:extLst>
                </a:gridCol>
                <a:gridCol w="733425">
                  <a:extLst>
                    <a:ext uri="{9D8B030D-6E8A-4147-A177-3AD203B41FA5}">
                      <a16:colId xmlns:a16="http://schemas.microsoft.com/office/drawing/2014/main" val="20001"/>
                    </a:ext>
                  </a:extLst>
                </a:gridCol>
                <a:gridCol w="406400">
                  <a:extLst>
                    <a:ext uri="{9D8B030D-6E8A-4147-A177-3AD203B41FA5}">
                      <a16:colId xmlns:a16="http://schemas.microsoft.com/office/drawing/2014/main" val="20002"/>
                    </a:ext>
                  </a:extLst>
                </a:gridCol>
                <a:gridCol w="896937">
                  <a:extLst>
                    <a:ext uri="{9D8B030D-6E8A-4147-A177-3AD203B41FA5}">
                      <a16:colId xmlns:a16="http://schemas.microsoft.com/office/drawing/2014/main" val="20003"/>
                    </a:ext>
                  </a:extLst>
                </a:gridCol>
                <a:gridCol w="487363">
                  <a:extLst>
                    <a:ext uri="{9D8B030D-6E8A-4147-A177-3AD203B41FA5}">
                      <a16:colId xmlns:a16="http://schemas.microsoft.com/office/drawing/2014/main" val="20004"/>
                    </a:ext>
                  </a:extLst>
                </a:gridCol>
                <a:gridCol w="977900">
                  <a:extLst>
                    <a:ext uri="{9D8B030D-6E8A-4147-A177-3AD203B41FA5}">
                      <a16:colId xmlns:a16="http://schemas.microsoft.com/office/drawing/2014/main" val="20005"/>
                    </a:ext>
                  </a:extLst>
                </a:gridCol>
                <a:gridCol w="506412">
                  <a:extLst>
                    <a:ext uri="{9D8B030D-6E8A-4147-A177-3AD203B41FA5}">
                      <a16:colId xmlns:a16="http://schemas.microsoft.com/office/drawing/2014/main" val="20006"/>
                    </a:ext>
                  </a:extLst>
                </a:gridCol>
                <a:gridCol w="863600">
                  <a:extLst>
                    <a:ext uri="{9D8B030D-6E8A-4147-A177-3AD203B41FA5}">
                      <a16:colId xmlns:a16="http://schemas.microsoft.com/office/drawing/2014/main" val="20007"/>
                    </a:ext>
                  </a:extLst>
                </a:gridCol>
                <a:gridCol w="863600">
                  <a:extLst>
                    <a:ext uri="{9D8B030D-6E8A-4147-A177-3AD203B41FA5}">
                      <a16:colId xmlns:a16="http://schemas.microsoft.com/office/drawing/2014/main" val="20008"/>
                    </a:ext>
                  </a:extLst>
                </a:gridCol>
              </a:tblGrid>
              <a:tr h="6064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Component A</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cap="none" normalizeH="0" baseline="0" dirty="0">
                          <a:ln>
                            <a:noFill/>
                          </a:ln>
                          <a:solidFill>
                            <a:schemeClr val="tx1"/>
                          </a:solidFill>
                          <a:effectLst/>
                          <a:latin typeface="Arial" charset="0"/>
                        </a:rPr>
                        <a:t>Component B</a:t>
                      </a: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400" b="0" i="0" u="none" strike="noStrike" cap="none" normalizeH="0" baseline="0" dirty="0">
                          <a:ln>
                            <a:noFill/>
                          </a:ln>
                          <a:solidFill>
                            <a:schemeClr val="tx1"/>
                          </a:solidFill>
                          <a:effectLst/>
                          <a:latin typeface="Arial" charset="0"/>
                        </a:rPr>
                        <a:t>Component C</a:t>
                      </a: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Total Volume</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Raw DueTo Bucket</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952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Vol components, Period 1</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0</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2</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15</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75.9</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24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Vol components, Period 2</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8</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5</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7</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19</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7463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Change:</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3</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55</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a:ln>
                            <a:noFill/>
                          </a:ln>
                          <a:solidFill>
                            <a:schemeClr val="bg1"/>
                          </a:solidFill>
                          <a:effectLst/>
                          <a:latin typeface="Arial" charset="0"/>
                        </a:rPr>
                        <a:t>43.1</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Change DueTo Base</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0</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5</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7</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27.5</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8.5</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667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Change DueTo Trade</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8</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2</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7</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4.72</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4.3</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254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Change DueTo TV</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8</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5</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15</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80.5</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8.5</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3657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rPr>
                        <a:t>46.5</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solidFill>
                  </a:tcPr>
                </a:tc>
                <a:extLst>
                  <a:ext uri="{0D108BD9-81ED-4DB2-BD59-A6C34878D82A}">
                    <a16:rowId xmlns:a16="http://schemas.microsoft.com/office/drawing/2014/main" val="10007"/>
                  </a:ext>
                </a:extLst>
              </a:tr>
            </a:tbl>
          </a:graphicData>
        </a:graphic>
      </p:graphicFrame>
      <p:sp>
        <p:nvSpPr>
          <p:cNvPr id="7" name="Text Box 100"/>
          <p:cNvSpPr txBox="1">
            <a:spLocks noChangeArrowheads="1"/>
          </p:cNvSpPr>
          <p:nvPr/>
        </p:nvSpPr>
        <p:spPr bwMode="gray">
          <a:xfrm>
            <a:off x="5573871" y="5933802"/>
            <a:ext cx="3036729" cy="384721"/>
          </a:xfrm>
          <a:prstGeom prst="rect">
            <a:avLst/>
          </a:prstGeom>
          <a:noFill/>
          <a:ln w="9525" algn="ctr">
            <a:solidFill>
              <a:schemeClr val="tx1"/>
            </a:solidFill>
            <a:miter lim="800000"/>
            <a:headEnd/>
            <a:tailEnd/>
          </a:ln>
        </p:spPr>
        <p:txBody>
          <a:bodyPr wrap="none" l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prstClr val="black"/>
                </a:solidFill>
                <a:effectLst/>
                <a:uLnTx/>
                <a:uFillTx/>
                <a:latin typeface="Arial"/>
                <a:ea typeface="+mn-ea"/>
                <a:cs typeface="+mn-cs"/>
              </a:rPr>
              <a:t>Synergy: 43.1 - 46.5 = -3.4</a:t>
            </a:r>
          </a:p>
        </p:txBody>
      </p:sp>
    </p:spTree>
    <p:extLst>
      <p:ext uri="{BB962C8B-B14F-4D97-AF65-F5344CB8AC3E}">
        <p14:creationId xmlns:p14="http://schemas.microsoft.com/office/powerpoint/2010/main" val="20040680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ubtractive” approach to decomps and </a:t>
            </a:r>
            <a:r>
              <a:rPr lang="en-US" dirty="0" err="1"/>
              <a:t>Duetos</a:t>
            </a:r>
            <a:r>
              <a:rPr lang="en-US" dirty="0"/>
              <a:t> makes most sense at TCCC</a:t>
            </a:r>
          </a:p>
        </p:txBody>
      </p:sp>
      <p:sp>
        <p:nvSpPr>
          <p:cNvPr id="3" name="Content Placeholder 2"/>
          <p:cNvSpPr>
            <a:spLocks noGrp="1"/>
          </p:cNvSpPr>
          <p:nvPr>
            <p:ph sz="quarter" idx="10"/>
          </p:nvPr>
        </p:nvSpPr>
        <p:spPr>
          <a:xfrm>
            <a:off x="609601" y="1025980"/>
            <a:ext cx="10951633" cy="4897967"/>
          </a:xfrm>
        </p:spPr>
        <p:txBody>
          <a:bodyPr/>
          <a:lstStyle/>
          <a:p>
            <a:pPr>
              <a:spcBef>
                <a:spcPct val="10000"/>
              </a:spcBef>
            </a:pPr>
            <a:r>
              <a:rPr lang="en-US" sz="1800" dirty="0"/>
              <a:t>Additive </a:t>
            </a:r>
          </a:p>
          <a:p>
            <a:pPr lvl="1">
              <a:spcBef>
                <a:spcPct val="10000"/>
              </a:spcBef>
            </a:pPr>
            <a:r>
              <a:rPr lang="en-US" sz="1600" dirty="0"/>
              <a:t>turn all marketing levers off.  Volume estimate is base.</a:t>
            </a:r>
          </a:p>
          <a:p>
            <a:pPr lvl="1">
              <a:spcBef>
                <a:spcPct val="10000"/>
              </a:spcBef>
            </a:pPr>
            <a:r>
              <a:rPr lang="en-US" sz="1600" dirty="0"/>
              <a:t>Turn marketing levers on, one at a time.  Each time the simulated volume minus base is incremental from that activity.</a:t>
            </a:r>
          </a:p>
          <a:p>
            <a:pPr>
              <a:spcBef>
                <a:spcPct val="10000"/>
              </a:spcBef>
            </a:pPr>
            <a:r>
              <a:rPr lang="en-US" sz="1800" dirty="0"/>
              <a:t>Subtractive</a:t>
            </a:r>
          </a:p>
          <a:p>
            <a:pPr lvl="1">
              <a:spcBef>
                <a:spcPct val="10000"/>
              </a:spcBef>
            </a:pPr>
            <a:r>
              <a:rPr lang="en-US" sz="1600" dirty="0"/>
              <a:t>Turn all marketing levers off.  Volume estimate is base.</a:t>
            </a:r>
          </a:p>
          <a:p>
            <a:pPr lvl="1">
              <a:spcBef>
                <a:spcPct val="10000"/>
              </a:spcBef>
            </a:pPr>
            <a:r>
              <a:rPr lang="en-US" sz="1600" dirty="0"/>
              <a:t>Turn marketing levers </a:t>
            </a:r>
            <a:r>
              <a:rPr lang="en-US" sz="1600" u="sng" dirty="0"/>
              <a:t>off</a:t>
            </a:r>
            <a:r>
              <a:rPr lang="en-US" sz="1600" dirty="0"/>
              <a:t>, one at a time.  Each time, total volume minus simulated volume is incremental volume from that activity.</a:t>
            </a:r>
          </a:p>
          <a:p>
            <a:pPr>
              <a:spcBef>
                <a:spcPct val="10000"/>
              </a:spcBef>
            </a:pPr>
            <a:r>
              <a:rPr lang="en-US" sz="1800" dirty="0"/>
              <a:t>Additive to base makes sense if you are mostly simulating “blank slate” scenarios</a:t>
            </a:r>
          </a:p>
          <a:p>
            <a:pPr lvl="1">
              <a:spcBef>
                <a:spcPct val="10000"/>
              </a:spcBef>
            </a:pPr>
            <a:r>
              <a:rPr lang="en-US" sz="1600" dirty="0"/>
              <a:t>If I had complete freedom to spend marketing money on any activity in any market against any product, where should I put my first dollar?  How should I allocate my total budget?</a:t>
            </a:r>
          </a:p>
          <a:p>
            <a:pPr>
              <a:spcBef>
                <a:spcPct val="10000"/>
              </a:spcBef>
            </a:pPr>
            <a:r>
              <a:rPr lang="en-US" sz="1800" dirty="0"/>
              <a:t>Subtractive makes sense if you are simulating mostly “adjustments from last year” scenarios</a:t>
            </a:r>
          </a:p>
          <a:p>
            <a:pPr lvl="1">
              <a:spcBef>
                <a:spcPct val="10000"/>
              </a:spcBef>
            </a:pPr>
            <a:r>
              <a:rPr lang="en-US" sz="1600" dirty="0"/>
              <a:t>I have $x more to spend or to cut.  Where should I allocate it?</a:t>
            </a:r>
          </a:p>
          <a:p>
            <a:pPr lvl="1">
              <a:spcBef>
                <a:spcPct val="10000"/>
              </a:spcBef>
            </a:pPr>
            <a:r>
              <a:rPr lang="en-US" sz="1600" dirty="0"/>
              <a:t>I’m thinking of shifting money around between markets, but politically I cannot shift more than +/- 20%, how should I shift the money?</a:t>
            </a:r>
          </a:p>
          <a:p>
            <a:pPr lvl="1">
              <a:spcBef>
                <a:spcPct val="10000"/>
              </a:spcBef>
            </a:pPr>
            <a:r>
              <a:rPr lang="en-US" sz="1600" dirty="0"/>
              <a:t>I recently took a price increase.  How much more or less volume would I sell if my price had been the same as last year?</a:t>
            </a:r>
          </a:p>
          <a:p>
            <a:pPr>
              <a:spcBef>
                <a:spcPct val="10000"/>
              </a:spcBef>
            </a:pPr>
            <a:r>
              <a:rPr lang="en-US" sz="1800" dirty="0"/>
              <a:t>Consistency is important:  better to pick one approach that fits most scenarios, and systematize or hard code the algorithm, than to swap back and forth and provide different answers to the same question over time.</a:t>
            </a:r>
          </a:p>
          <a:p>
            <a:endParaRPr lang="en-US" sz="3200"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tint val="75000"/>
                  </a:prstClr>
                </a:solidFill>
                <a:effectLst/>
                <a:uLnTx/>
                <a:uFillTx/>
                <a:latin typeface="Arial"/>
                <a:ea typeface="+mn-ea"/>
                <a:cs typeface="+mn-cs"/>
              </a:rPr>
              <a:t>Classified: Confidential</a:t>
            </a:r>
            <a:endParaRPr kumimoji="0" lang="en-US" sz="1200" b="0" i="1"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242C4DC-1FF5-472D-AB46-012295A93E1F}" type="slidenum">
              <a:rPr kumimoji="0" lang="en-US" sz="1200" b="0" i="1"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200" b="0" i="1"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Tree>
    <p:extLst>
      <p:ext uri="{BB962C8B-B14F-4D97-AF65-F5344CB8AC3E}">
        <p14:creationId xmlns:p14="http://schemas.microsoft.com/office/powerpoint/2010/main" val="1712339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hould we allocate synergy or leave it as its own slice of the pie?</a:t>
            </a:r>
          </a:p>
        </p:txBody>
      </p:sp>
      <p:sp>
        <p:nvSpPr>
          <p:cNvPr id="3" name="Content Placeholder 2"/>
          <p:cNvSpPr>
            <a:spLocks noGrp="1"/>
          </p:cNvSpPr>
          <p:nvPr>
            <p:ph sz="quarter" idx="10"/>
          </p:nvPr>
        </p:nvSpPr>
        <p:spPr/>
        <p:txBody>
          <a:bodyPr/>
          <a:lstStyle/>
          <a:p>
            <a:r>
              <a:rPr lang="en-US" dirty="0"/>
              <a:t>Yes, of course we should allocate it!</a:t>
            </a:r>
          </a:p>
          <a:p>
            <a:pPr lvl="1"/>
            <a:r>
              <a:rPr lang="en-US" dirty="0"/>
              <a:t>Not allocating it begs the question. . . but if my marketing activity is contributing to that synergy, when I calculate an ROI, shouldn’t I give my marketing some credit for some portion of the synergy?</a:t>
            </a:r>
          </a:p>
          <a:p>
            <a:pPr lvl="1"/>
            <a:r>
              <a:rPr lang="en-US" dirty="0"/>
              <a:t>And. . .while most brand managers understand synergy on an intellectual level, having a synergy slice of the pie doesn’t help them with marketing decision making</a:t>
            </a:r>
          </a:p>
          <a:p>
            <a:pPr lvl="1"/>
            <a:r>
              <a:rPr lang="en-US" dirty="0"/>
              <a:t>And. . .it can be an uphill battle to try to explain synergy</a:t>
            </a:r>
          </a:p>
          <a:p>
            <a:pPr lvl="1"/>
            <a:r>
              <a:rPr lang="en-US" dirty="0"/>
              <a:t>And. . .some would argue that is as much an algebraic artifact of the model form as it is of “magic” of multiple marketing efforts simultaneously</a:t>
            </a:r>
          </a:p>
          <a:p>
            <a:endParaRPr lang="en-US"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tint val="75000"/>
                  </a:prstClr>
                </a:solidFill>
                <a:effectLst/>
                <a:uLnTx/>
                <a:uFillTx/>
                <a:latin typeface="Arial"/>
                <a:ea typeface="+mn-ea"/>
                <a:cs typeface="+mn-cs"/>
              </a:rPr>
              <a:t>Classified: Confidential</a:t>
            </a:r>
            <a:endParaRPr kumimoji="0" lang="en-US" sz="1200" b="0" i="1"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242C4DC-1FF5-472D-AB46-012295A93E1F}" type="slidenum">
              <a:rPr kumimoji="0" lang="en-US" sz="1200" b="0" i="1"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200" b="0" i="1"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Tree>
    <p:extLst>
      <p:ext uri="{BB962C8B-B14F-4D97-AF65-F5344CB8AC3E}">
        <p14:creationId xmlns:p14="http://schemas.microsoft.com/office/powerpoint/2010/main" val="2131741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hould we allocate synergy to only incremental, or incremental and base?</a:t>
            </a:r>
          </a:p>
        </p:txBody>
      </p:sp>
      <p:sp>
        <p:nvSpPr>
          <p:cNvPr id="3" name="Content Placeholder 2"/>
          <p:cNvSpPr>
            <a:spLocks noGrp="1"/>
          </p:cNvSpPr>
          <p:nvPr>
            <p:ph sz="quarter" idx="10"/>
          </p:nvPr>
        </p:nvSpPr>
        <p:spPr/>
        <p:txBody>
          <a:bodyPr/>
          <a:lstStyle/>
          <a:p>
            <a:pPr>
              <a:lnSpc>
                <a:spcPct val="90000"/>
              </a:lnSpc>
            </a:pPr>
            <a:r>
              <a:rPr lang="en-US" sz="2400" dirty="0"/>
              <a:t>In a volume decomposition:</a:t>
            </a:r>
          </a:p>
          <a:p>
            <a:pPr lvl="1">
              <a:lnSpc>
                <a:spcPct val="90000"/>
              </a:lnSpc>
            </a:pPr>
            <a:r>
              <a:rPr lang="en-US" sz="2000" dirty="0"/>
              <a:t>Allocate synergy only to incremental volume if you believe the synergy is driven mostly by the magic of integrated and aligned marketing activities</a:t>
            </a:r>
          </a:p>
          <a:p>
            <a:pPr lvl="2">
              <a:lnSpc>
                <a:spcPct val="90000"/>
              </a:lnSpc>
            </a:pPr>
            <a:r>
              <a:rPr lang="en-US" sz="1800" dirty="0"/>
              <a:t>This is the case at The Coca-Cola Company</a:t>
            </a:r>
          </a:p>
          <a:p>
            <a:pPr lvl="2">
              <a:lnSpc>
                <a:spcPct val="90000"/>
              </a:lnSpc>
            </a:pPr>
            <a:r>
              <a:rPr lang="en-US" sz="1800" dirty="0"/>
              <a:t>Belief: for TCCC, we strive for integrated media messaging and for driving “marketing magic” synergistic effects</a:t>
            </a:r>
          </a:p>
          <a:p>
            <a:pPr lvl="1">
              <a:lnSpc>
                <a:spcPct val="90000"/>
              </a:lnSpc>
            </a:pPr>
            <a:r>
              <a:rPr lang="en-US" sz="2000" dirty="0"/>
              <a:t>Allocate synergy to both base and incremental if you believe all components of the model contribute to the synergy effect and it is mostly a model artifact.</a:t>
            </a:r>
          </a:p>
          <a:p>
            <a:pPr lvl="2">
              <a:lnSpc>
                <a:spcPct val="90000"/>
              </a:lnSpc>
            </a:pPr>
            <a:r>
              <a:rPr lang="en-US" sz="1800" dirty="0"/>
              <a:t>Base volume can be much higher in summer (index of 1.2), and on holidays (index of 1.5 or 2).  More people are in the market, buying the category during these times.</a:t>
            </a:r>
          </a:p>
          <a:p>
            <a:pPr>
              <a:lnSpc>
                <a:spcPct val="90000"/>
              </a:lnSpc>
            </a:pPr>
            <a:r>
              <a:rPr lang="en-US" sz="2400" dirty="0"/>
              <a:t>In a DueTo</a:t>
            </a:r>
          </a:p>
          <a:p>
            <a:pPr lvl="1">
              <a:lnSpc>
                <a:spcPct val="90000"/>
              </a:lnSpc>
            </a:pPr>
            <a:r>
              <a:rPr lang="en-US" sz="2000" dirty="0"/>
              <a:t>For TCCC, following similar logic, it makes the most sense to allocate synergy to only incremental drivers.</a:t>
            </a:r>
          </a:p>
          <a:p>
            <a:pPr marL="0" indent="0">
              <a:buNone/>
            </a:pPr>
            <a:endParaRPr lang="en-US" sz="2400"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tint val="75000"/>
                  </a:prstClr>
                </a:solidFill>
                <a:effectLst/>
                <a:uLnTx/>
                <a:uFillTx/>
                <a:latin typeface="Arial"/>
                <a:ea typeface="+mn-ea"/>
                <a:cs typeface="+mn-cs"/>
              </a:rPr>
              <a:t>Classified: Confidential</a:t>
            </a:r>
            <a:endParaRPr kumimoji="0" lang="en-US" sz="1200" b="0" i="1"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242C4DC-1FF5-472D-AB46-012295A93E1F}" type="slidenum">
              <a:rPr kumimoji="0" lang="en-US" sz="1200" b="0" i="1"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200" b="0" i="1"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Tree>
    <p:extLst>
      <p:ext uri="{BB962C8B-B14F-4D97-AF65-F5344CB8AC3E}">
        <p14:creationId xmlns:p14="http://schemas.microsoft.com/office/powerpoint/2010/main" val="37111800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should we allocate synergy?</a:t>
            </a:r>
          </a:p>
        </p:txBody>
      </p:sp>
      <p:sp>
        <p:nvSpPr>
          <p:cNvPr id="3" name="Content Placeholder 2"/>
          <p:cNvSpPr>
            <a:spLocks noGrp="1"/>
          </p:cNvSpPr>
          <p:nvPr>
            <p:ph sz="quarter" idx="10"/>
          </p:nvPr>
        </p:nvSpPr>
        <p:spPr>
          <a:xfrm>
            <a:off x="609602" y="1123952"/>
            <a:ext cx="10951633" cy="5360302"/>
          </a:xfrm>
        </p:spPr>
        <p:txBody>
          <a:bodyPr/>
          <a:lstStyle/>
          <a:p>
            <a:pPr marL="438150" indent="-381000">
              <a:spcBef>
                <a:spcPct val="10000"/>
              </a:spcBef>
              <a:buFontTx/>
              <a:buAutoNum type="arabicPeriod"/>
              <a:defRPr/>
            </a:pPr>
            <a:r>
              <a:rPr lang="en-US" sz="1600" dirty="0"/>
              <a:t>Multiplicative: multiplying each Decomp raw bucket by the ratio of total volume change to the sum of the Decomp buckets</a:t>
            </a:r>
          </a:p>
          <a:p>
            <a:pPr marL="857250" lvl="1" indent="-342900">
              <a:spcBef>
                <a:spcPct val="10000"/>
              </a:spcBef>
              <a:defRPr/>
            </a:pPr>
            <a:r>
              <a:rPr lang="en-US" sz="1600" dirty="0"/>
              <a:t>Why: simple, straightforward, first idea we typically have is to do it this way</a:t>
            </a:r>
          </a:p>
          <a:p>
            <a:pPr marL="857250" lvl="1" indent="-342900">
              <a:spcBef>
                <a:spcPct val="10000"/>
              </a:spcBef>
              <a:defRPr/>
            </a:pPr>
            <a:r>
              <a:rPr lang="en-US" sz="1600" dirty="0"/>
              <a:t>Issue:  Can flip signs in a DueTo </a:t>
            </a:r>
            <a:r>
              <a:rPr lang="en-US" sz="1600" u="sng" dirty="0"/>
              <a:t>and</a:t>
            </a:r>
            <a:r>
              <a:rPr lang="en-US" sz="1600" dirty="0"/>
              <a:t> dramatically amplify size of bucket</a:t>
            </a:r>
          </a:p>
          <a:p>
            <a:pPr marL="438150" indent="-381000">
              <a:spcBef>
                <a:spcPct val="10000"/>
              </a:spcBef>
              <a:buFontTx/>
              <a:buAutoNum type="arabicPeriod"/>
              <a:defRPr/>
            </a:pPr>
            <a:r>
              <a:rPr lang="en-US" sz="1600" dirty="0"/>
              <a:t>Multiplicative with Like sign: only allocate synergy to raw buckets with same sign as synergy</a:t>
            </a:r>
          </a:p>
          <a:p>
            <a:pPr marL="857250" lvl="1" indent="-342900">
              <a:spcBef>
                <a:spcPct val="10000"/>
              </a:spcBef>
              <a:defRPr/>
            </a:pPr>
            <a:r>
              <a:rPr lang="en-US" sz="1600" dirty="0"/>
              <a:t>Why: some would argue positive synergy is only being driven by positive marketing drivers</a:t>
            </a:r>
          </a:p>
          <a:p>
            <a:pPr marL="857250" lvl="1" indent="-342900">
              <a:spcBef>
                <a:spcPct val="10000"/>
              </a:spcBef>
              <a:defRPr/>
            </a:pPr>
            <a:r>
              <a:rPr lang="en-US" sz="1600" dirty="0"/>
              <a:t>Issue: get a different answer if run the analysis at different levels of aggregation</a:t>
            </a:r>
          </a:p>
          <a:p>
            <a:pPr marL="438150" indent="-381000">
              <a:spcBef>
                <a:spcPct val="10000"/>
              </a:spcBef>
              <a:buFontTx/>
              <a:buAutoNum type="arabicPeriod"/>
              <a:defRPr/>
            </a:pPr>
            <a:r>
              <a:rPr lang="en-US" sz="1600" dirty="0"/>
              <a:t>Covariate Ratio</a:t>
            </a:r>
          </a:p>
          <a:p>
            <a:pPr marL="857250" lvl="1" indent="-342900">
              <a:spcBef>
                <a:spcPct val="10000"/>
              </a:spcBef>
              <a:defRPr/>
            </a:pPr>
            <a:r>
              <a:rPr lang="en-US" sz="1600" dirty="0"/>
              <a:t>Why: avoid sign flipping of multiplicative methods and allocate some synergy to all buckets</a:t>
            </a:r>
          </a:p>
          <a:p>
            <a:pPr marL="857250" lvl="1" indent="-342900">
              <a:spcBef>
                <a:spcPct val="10000"/>
              </a:spcBef>
              <a:defRPr/>
            </a:pPr>
            <a:r>
              <a:rPr lang="en-US" sz="1600" dirty="0"/>
              <a:t>Approach: allocate synergy by indexing raw Decomp buckets proportionally to the size of each “covariate”, i.e. each coefficient * data value component</a:t>
            </a:r>
          </a:p>
          <a:p>
            <a:pPr marL="857250" lvl="1" indent="-342900">
              <a:spcBef>
                <a:spcPct val="10000"/>
              </a:spcBef>
              <a:defRPr/>
            </a:pPr>
            <a:r>
              <a:rPr lang="en-US" sz="1600" dirty="0"/>
              <a:t>Issue: largest slice changes most, more than it would with the absolute method</a:t>
            </a:r>
          </a:p>
          <a:p>
            <a:pPr marL="438150" indent="-381000">
              <a:spcBef>
                <a:spcPct val="10000"/>
              </a:spcBef>
              <a:buFontTx/>
              <a:buAutoNum type="arabicPeriod"/>
              <a:defRPr/>
            </a:pPr>
            <a:r>
              <a:rPr lang="en-US" sz="1600" dirty="0"/>
              <a:t>Absolute: proportional to the absolute value of the raw Decomp bucket</a:t>
            </a:r>
            <a:endParaRPr lang="en-US" sz="1600" b="1" i="1" dirty="0">
              <a:solidFill>
                <a:srgbClr val="FF0000"/>
              </a:solidFill>
            </a:endParaRPr>
          </a:p>
          <a:p>
            <a:pPr marL="857250" lvl="1" indent="-342900">
              <a:spcBef>
                <a:spcPct val="10000"/>
              </a:spcBef>
              <a:defRPr/>
            </a:pPr>
            <a:r>
              <a:rPr lang="en-US" sz="1600" dirty="0"/>
              <a:t>Why: Avoids multiplicative amplification problems. Minimizes sign flipping.</a:t>
            </a:r>
          </a:p>
          <a:p>
            <a:pPr marL="857250" lvl="1" indent="-342900">
              <a:spcBef>
                <a:spcPct val="10000"/>
              </a:spcBef>
              <a:defRPr/>
            </a:pPr>
            <a:r>
              <a:rPr lang="en-US" sz="1600" dirty="0"/>
              <a:t>Issue:  can get sign flipping on small drivers, but minimized with this approach</a:t>
            </a:r>
          </a:p>
          <a:p>
            <a:pPr marL="457200">
              <a:spcBef>
                <a:spcPct val="10000"/>
              </a:spcBef>
              <a:buNone/>
              <a:defRPr/>
            </a:pPr>
            <a:r>
              <a:rPr lang="en-US" sz="1600" dirty="0"/>
              <a:t>Issue with all methods: can get a different answer if run the analysis at different levels, e.g. total television versus by campaign, or quarters vs. weeks. </a:t>
            </a:r>
          </a:p>
          <a:p>
            <a:pPr marL="457200">
              <a:spcBef>
                <a:spcPct val="10000"/>
              </a:spcBef>
              <a:buNone/>
              <a:defRPr/>
            </a:pPr>
            <a:r>
              <a:rPr lang="en-US" sz="2000" dirty="0"/>
              <a:t>Absolute, Use Atomic, and allocating only to incremental drivers is all around best method for TCCC</a:t>
            </a:r>
          </a:p>
          <a:p>
            <a:endParaRPr lang="en-US" sz="3200" dirty="0"/>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tint val="75000"/>
                  </a:prstClr>
                </a:solidFill>
                <a:effectLst/>
                <a:uLnTx/>
                <a:uFillTx/>
                <a:latin typeface="Arial"/>
                <a:ea typeface="+mn-ea"/>
                <a:cs typeface="+mn-cs"/>
              </a:rPr>
              <a:t>Classified: Confidential</a:t>
            </a:r>
            <a:endParaRPr kumimoji="0" lang="en-US" sz="1200" b="0" i="1"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242C4DC-1FF5-472D-AB46-012295A93E1F}" type="slidenum">
              <a:rPr kumimoji="0" lang="en-US" sz="1200" b="0" i="1"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200" b="0" i="1"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Tree>
    <p:extLst>
      <p:ext uri="{BB962C8B-B14F-4D97-AF65-F5344CB8AC3E}">
        <p14:creationId xmlns:p14="http://schemas.microsoft.com/office/powerpoint/2010/main" val="10800404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nergy example, proportional to absolute value of covariate</a:t>
            </a:r>
          </a:p>
        </p:txBody>
      </p:sp>
      <p:sp>
        <p:nvSpPr>
          <p:cNvPr id="3" name="Footer Placeholder 2"/>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tint val="75000"/>
                  </a:prstClr>
                </a:solidFill>
                <a:effectLst/>
                <a:uLnTx/>
                <a:uFillTx/>
                <a:latin typeface="Arial"/>
                <a:ea typeface="+mn-ea"/>
                <a:cs typeface="+mn-cs"/>
              </a:rPr>
              <a:t>Classified: Confidential</a:t>
            </a:r>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242C4DC-1FF5-472D-AB46-012295A93E1F}" type="slidenum">
              <a:rPr kumimoji="0" lang="en-US" sz="1200" b="0" i="1"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200" b="0" i="1"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pic>
        <p:nvPicPr>
          <p:cNvPr id="7" name="Picture 6"/>
          <p:cNvPicPr>
            <a:picLocks noChangeAspect="1"/>
          </p:cNvPicPr>
          <p:nvPr/>
        </p:nvPicPr>
        <p:blipFill>
          <a:blip r:embed="rId2"/>
          <a:stretch>
            <a:fillRect/>
          </a:stretch>
        </p:blipFill>
        <p:spPr>
          <a:xfrm>
            <a:off x="5306787" y="1146188"/>
            <a:ext cx="1197430" cy="1235358"/>
          </a:xfrm>
          <a:prstGeom prst="rect">
            <a:avLst/>
          </a:prstGeom>
        </p:spPr>
      </p:pic>
      <p:graphicFrame>
        <p:nvGraphicFramePr>
          <p:cNvPr id="8" name="Group 4"/>
          <p:cNvGraphicFramePr>
            <a:graphicFrameLocks/>
          </p:cNvGraphicFramePr>
          <p:nvPr/>
        </p:nvGraphicFramePr>
        <p:xfrm>
          <a:off x="228600" y="2292602"/>
          <a:ext cx="10489933" cy="3121660"/>
        </p:xfrm>
        <a:graphic>
          <a:graphicData uri="http://schemas.openxmlformats.org/drawingml/2006/table">
            <a:tbl>
              <a:tblPr/>
              <a:tblGrid>
                <a:gridCol w="3722914">
                  <a:extLst>
                    <a:ext uri="{9D8B030D-6E8A-4147-A177-3AD203B41FA5}">
                      <a16:colId xmlns:a16="http://schemas.microsoft.com/office/drawing/2014/main" val="20000"/>
                    </a:ext>
                  </a:extLst>
                </a:gridCol>
                <a:gridCol w="884418">
                  <a:extLst>
                    <a:ext uri="{9D8B030D-6E8A-4147-A177-3AD203B41FA5}">
                      <a16:colId xmlns:a16="http://schemas.microsoft.com/office/drawing/2014/main" val="20001"/>
                    </a:ext>
                  </a:extLst>
                </a:gridCol>
                <a:gridCol w="675919">
                  <a:extLst>
                    <a:ext uri="{9D8B030D-6E8A-4147-A177-3AD203B41FA5}">
                      <a16:colId xmlns:a16="http://schemas.microsoft.com/office/drawing/2014/main" val="20002"/>
                    </a:ext>
                  </a:extLst>
                </a:gridCol>
                <a:gridCol w="1491772">
                  <a:extLst>
                    <a:ext uri="{9D8B030D-6E8A-4147-A177-3AD203B41FA5}">
                      <a16:colId xmlns:a16="http://schemas.microsoft.com/office/drawing/2014/main" val="20003"/>
                    </a:ext>
                  </a:extLst>
                </a:gridCol>
                <a:gridCol w="842256">
                  <a:extLst>
                    <a:ext uri="{9D8B030D-6E8A-4147-A177-3AD203B41FA5}">
                      <a16:colId xmlns:a16="http://schemas.microsoft.com/office/drawing/2014/main" val="20004"/>
                    </a:ext>
                  </a:extLst>
                </a:gridCol>
                <a:gridCol w="1436327">
                  <a:extLst>
                    <a:ext uri="{9D8B030D-6E8A-4147-A177-3AD203B41FA5}">
                      <a16:colId xmlns:a16="http://schemas.microsoft.com/office/drawing/2014/main" val="20005"/>
                    </a:ext>
                  </a:extLst>
                </a:gridCol>
                <a:gridCol w="1436327">
                  <a:extLst>
                    <a:ext uri="{9D8B030D-6E8A-4147-A177-3AD203B41FA5}">
                      <a16:colId xmlns:a16="http://schemas.microsoft.com/office/drawing/2014/main" val="20006"/>
                    </a:ext>
                  </a:extLst>
                </a:gridCol>
              </a:tblGrid>
              <a:tr h="6064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People</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800" b="0" i="0" u="none" strike="noStrike" cap="none" normalizeH="0" baseline="0" dirty="0">
                          <a:ln>
                            <a:noFill/>
                          </a:ln>
                          <a:solidFill>
                            <a:schemeClr val="tx1"/>
                          </a:solidFill>
                          <a:effectLst/>
                          <a:latin typeface="Arial" charset="0"/>
                        </a:rPr>
                        <a:t>Drinks Each</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Total Drinks</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Raw DueTo Bucket</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952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Weekend 1</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6</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3</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8</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24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Weekend 2</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7</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2</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4</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7463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a:ln>
                            <a:noFill/>
                          </a:ln>
                          <a:solidFill>
                            <a:schemeClr val="tx1"/>
                          </a:solidFill>
                          <a:effectLst/>
                          <a:latin typeface="Arial" charset="0"/>
                        </a:rPr>
                        <a:t>Change:</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1" i="0" u="none" strike="noStrike" cap="none" normalizeH="0" baseline="0" dirty="0">
                        <a:ln>
                          <a:noFill/>
                        </a:ln>
                        <a:solidFill>
                          <a:schemeClr val="bg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4-18=-4</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Change DueTo # people</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7</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3</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21</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21-18=3</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667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Change DueTo # drinks per person</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6</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2</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2</a:t>
                      </a: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2-18=-6</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36575">
                <a:tc gridSpan="6">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Sum of raw DueTo buckets</a:t>
                      </a:r>
                    </a:p>
                  </a:txBody>
                  <a:tcPr marL="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txBody>
                  <a:tcPr marL="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1"/>
                          </a:solidFill>
                          <a:effectLst/>
                          <a:latin typeface="Arial" charset="0"/>
                        </a:rPr>
                        <a:t>+3-6=-3</a:t>
                      </a:r>
                    </a:p>
                  </a:txBody>
                  <a:tcPr marL="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0000"/>
                    </a:solidFill>
                  </a:tcPr>
                </a:tc>
                <a:extLst>
                  <a:ext uri="{0D108BD9-81ED-4DB2-BD59-A6C34878D82A}">
                    <a16:rowId xmlns:a16="http://schemas.microsoft.com/office/drawing/2014/main" val="10006"/>
                  </a:ext>
                </a:extLst>
              </a:tr>
            </a:tbl>
          </a:graphicData>
        </a:graphic>
      </p:graphicFrame>
      <p:pic>
        <p:nvPicPr>
          <p:cNvPr id="9" name="Picture 8"/>
          <p:cNvPicPr>
            <a:picLocks noChangeAspect="1"/>
          </p:cNvPicPr>
          <p:nvPr/>
        </p:nvPicPr>
        <p:blipFill>
          <a:blip r:embed="rId3"/>
          <a:stretch>
            <a:fillRect/>
          </a:stretch>
        </p:blipFill>
        <p:spPr>
          <a:xfrm>
            <a:off x="3738007" y="1087594"/>
            <a:ext cx="1189014" cy="1205008"/>
          </a:xfrm>
          <a:prstGeom prst="rect">
            <a:avLst/>
          </a:prstGeom>
        </p:spPr>
      </p:pic>
      <p:sp>
        <p:nvSpPr>
          <p:cNvPr id="10" name="Text Box 100"/>
          <p:cNvSpPr txBox="1">
            <a:spLocks noChangeArrowheads="1"/>
          </p:cNvSpPr>
          <p:nvPr/>
        </p:nvSpPr>
        <p:spPr bwMode="gray">
          <a:xfrm>
            <a:off x="8200538" y="5414262"/>
            <a:ext cx="2534989" cy="384721"/>
          </a:xfrm>
          <a:prstGeom prst="rect">
            <a:avLst/>
          </a:prstGeom>
          <a:noFill/>
          <a:ln w="9525" algn="ctr">
            <a:solidFill>
              <a:schemeClr val="tx1"/>
            </a:solidFill>
            <a:miter lim="800000"/>
            <a:headEnd/>
            <a:tailEnd/>
          </a:ln>
        </p:spPr>
        <p:txBody>
          <a:bodyPr wrap="none" l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prstClr val="black"/>
                </a:solidFill>
                <a:effectLst/>
                <a:uLnTx/>
                <a:uFillTx/>
                <a:latin typeface="Arial"/>
                <a:ea typeface="+mn-ea"/>
                <a:cs typeface="+mn-cs"/>
              </a:rPr>
              <a:t>Synergy: -3 – (-4) = -1</a:t>
            </a:r>
          </a:p>
        </p:txBody>
      </p:sp>
      <p:cxnSp>
        <p:nvCxnSpPr>
          <p:cNvPr id="11" name="Curved Connector 10"/>
          <p:cNvCxnSpPr>
            <a:stCxn id="10" idx="3"/>
          </p:cNvCxnSpPr>
          <p:nvPr/>
        </p:nvCxnSpPr>
        <p:spPr>
          <a:xfrm flipH="1" flipV="1">
            <a:off x="10639226" y="4201891"/>
            <a:ext cx="96301" cy="1404732"/>
          </a:xfrm>
          <a:prstGeom prst="curvedConnector4">
            <a:avLst>
              <a:gd name="adj1" fmla="val -994738"/>
              <a:gd name="adj2" fmla="val 9171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urved Connector 13"/>
          <p:cNvCxnSpPr>
            <a:stCxn id="10" idx="3"/>
          </p:cNvCxnSpPr>
          <p:nvPr/>
        </p:nvCxnSpPr>
        <p:spPr>
          <a:xfrm flipH="1" flipV="1">
            <a:off x="10515865" y="4582891"/>
            <a:ext cx="219662" cy="1023732"/>
          </a:xfrm>
          <a:prstGeom prst="curvedConnector4">
            <a:avLst>
              <a:gd name="adj1" fmla="val -302295"/>
              <a:gd name="adj2" fmla="val 93422"/>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0902346" y="4017225"/>
            <a:ext cx="9412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1*33%</a:t>
            </a:r>
          </a:p>
        </p:txBody>
      </p:sp>
      <p:sp>
        <p:nvSpPr>
          <p:cNvPr id="22" name="TextBox 21"/>
          <p:cNvSpPr txBox="1"/>
          <p:nvPr/>
        </p:nvSpPr>
        <p:spPr>
          <a:xfrm>
            <a:off x="10827537" y="4705963"/>
            <a:ext cx="9412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1*67%</a:t>
            </a:r>
          </a:p>
        </p:txBody>
      </p:sp>
    </p:spTree>
    <p:extLst>
      <p:ext uri="{BB962C8B-B14F-4D97-AF65-F5344CB8AC3E}">
        <p14:creationId xmlns:p14="http://schemas.microsoft.com/office/powerpoint/2010/main" val="783974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okeRedSpriteGreenFantaOrange">
      <a:dk1>
        <a:sysClr val="windowText" lastClr="000000"/>
      </a:dk1>
      <a:lt1>
        <a:sysClr val="window" lastClr="FFFFFF"/>
      </a:lt1>
      <a:dk2>
        <a:srgbClr val="1F497D"/>
      </a:dk2>
      <a:lt2>
        <a:srgbClr val="EEECE1"/>
      </a:lt2>
      <a:accent1>
        <a:srgbClr val="F40009"/>
      </a:accent1>
      <a:accent2>
        <a:srgbClr val="000000"/>
      </a:accent2>
      <a:accent3>
        <a:srgbClr val="BFBFBF"/>
      </a:accent3>
      <a:accent4>
        <a:srgbClr val="009639"/>
      </a:accent4>
      <a:accent5>
        <a:srgbClr val="FF8200"/>
      </a:accent5>
      <a:accent6>
        <a:srgbClr val="7030A0"/>
      </a:accent6>
      <a:hlink>
        <a:srgbClr val="0000FF"/>
      </a:hlink>
      <a:folHlink>
        <a:srgbClr val="0000F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151</Words>
  <Application>Microsoft Office PowerPoint</Application>
  <PresentationFormat>Widescreen</PresentationFormat>
  <Paragraphs>205</Paragraphs>
  <Slides>8</Slides>
  <Notes>0</Notes>
  <HiddenSlides>1</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Calibri Light</vt:lpstr>
      <vt:lpstr>Office Theme</vt:lpstr>
      <vt:lpstr>2_Office Theme</vt:lpstr>
      <vt:lpstr>think-cell Slide</vt:lpstr>
      <vt:lpstr>PowerPoint Presentation</vt:lpstr>
      <vt:lpstr>Synergy is “baked in” to multiplicative volume form</vt:lpstr>
      <vt:lpstr>Multiplicative models have a synergy component to be managed when computing decomps and duetos</vt:lpstr>
      <vt:lpstr>“Subtractive” approach to decomps and Duetos makes most sense at TCCC</vt:lpstr>
      <vt:lpstr>Should we allocate synergy or leave it as its own slice of the pie?</vt:lpstr>
      <vt:lpstr>Should we allocate synergy to only incremental, or incremental and base?</vt:lpstr>
      <vt:lpstr>How should we allocate synergy?</vt:lpstr>
      <vt:lpstr>Synergy example, proportional to absolute value of covaria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tosh Nair</dc:creator>
  <cp:lastModifiedBy>Santosh Nair</cp:lastModifiedBy>
  <cp:revision>1</cp:revision>
  <dcterms:created xsi:type="dcterms:W3CDTF">2022-02-07T09:42:24Z</dcterms:created>
  <dcterms:modified xsi:type="dcterms:W3CDTF">2022-02-07T09:42:44Z</dcterms:modified>
</cp:coreProperties>
</file>